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media/image24.jpg" ContentType="image/jpeg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2" r:id="rId1"/>
    <p:sldMasterId id="2147483739" r:id="rId2"/>
    <p:sldMasterId id="2147483732" r:id="rId3"/>
    <p:sldMasterId id="2147483755" r:id="rId4"/>
  </p:sldMasterIdLst>
  <p:notesMasterIdLst>
    <p:notesMasterId r:id="rId18"/>
  </p:notesMasterIdLst>
  <p:handoutMasterIdLst>
    <p:handoutMasterId r:id="rId19"/>
  </p:handoutMasterIdLst>
  <p:sldIdLst>
    <p:sldId id="280" r:id="rId5"/>
    <p:sldId id="3468" r:id="rId6"/>
    <p:sldId id="3442" r:id="rId7"/>
    <p:sldId id="297" r:id="rId8"/>
    <p:sldId id="3470" r:id="rId9"/>
    <p:sldId id="4575" r:id="rId10"/>
    <p:sldId id="4576" r:id="rId11"/>
    <p:sldId id="3469" r:id="rId12"/>
    <p:sldId id="3446" r:id="rId13"/>
    <p:sldId id="4577" r:id="rId14"/>
    <p:sldId id="4578" r:id="rId15"/>
    <p:sldId id="3464" r:id="rId16"/>
    <p:sldId id="1051" r:id="rId1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55C3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DC00E2-A952-40DA-80FC-FB7DE864358D}" v="281" dt="2023-05-28T22:34:42.8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773"/>
    <p:restoredTop sz="96197"/>
  </p:normalViewPr>
  <p:slideViewPr>
    <p:cSldViewPr snapToGrid="0" snapToObjects="1" showGuides="1">
      <p:cViewPr varScale="1">
        <p:scale>
          <a:sx n="59" d="100"/>
          <a:sy n="59" d="100"/>
        </p:scale>
        <p:origin x="1088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08" d="100"/>
          <a:sy n="108" d="100"/>
        </p:scale>
        <p:origin x="4400" y="19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lias Omondi" userId="5cf36897-38a5-4525-890a-89f27eb0c2d7" providerId="ADAL" clId="{98BC11D4-AC21-4444-9986-28C332D2899D}"/>
    <pc:docChg chg="modSld">
      <pc:chgData name="Elias Omondi" userId="5cf36897-38a5-4525-890a-89f27eb0c2d7" providerId="ADAL" clId="{98BC11D4-AC21-4444-9986-28C332D2899D}" dt="2022-11-29T06:38:20.803" v="3" actId="1076"/>
      <pc:docMkLst>
        <pc:docMk/>
      </pc:docMkLst>
      <pc:sldChg chg="addSp delSp modSp mod">
        <pc:chgData name="Elias Omondi" userId="5cf36897-38a5-4525-890a-89f27eb0c2d7" providerId="ADAL" clId="{98BC11D4-AC21-4444-9986-28C332D2899D}" dt="2022-11-29T06:38:20.803" v="3" actId="1076"/>
        <pc:sldMkLst>
          <pc:docMk/>
          <pc:sldMk cId="244331174" sldId="280"/>
        </pc:sldMkLst>
        <pc:picChg chg="add mod">
          <ac:chgData name="Elias Omondi" userId="5cf36897-38a5-4525-890a-89f27eb0c2d7" providerId="ADAL" clId="{98BC11D4-AC21-4444-9986-28C332D2899D}" dt="2022-11-29T06:38:20.803" v="3" actId="1076"/>
          <ac:picMkLst>
            <pc:docMk/>
            <pc:sldMk cId="244331174" sldId="280"/>
            <ac:picMk id="9" creationId="{C64936DF-64BE-FA27-3373-A24E3F4929D7}"/>
          </ac:picMkLst>
        </pc:picChg>
        <pc:picChg chg="del">
          <ac:chgData name="Elias Omondi" userId="5cf36897-38a5-4525-890a-89f27eb0c2d7" providerId="ADAL" clId="{98BC11D4-AC21-4444-9986-28C332D2899D}" dt="2022-11-29T06:38:05.716" v="0" actId="478"/>
          <ac:picMkLst>
            <pc:docMk/>
            <pc:sldMk cId="244331174" sldId="280"/>
            <ac:picMk id="1026" creationId="{75FA6273-2448-84C6-07BE-5883DAC0063B}"/>
          </ac:picMkLst>
        </pc:picChg>
      </pc:sldChg>
    </pc:docChg>
  </pc:docChgLst>
  <pc:docChgLst>
    <pc:chgData name="Elias Omondi" userId="5cf36897-38a5-4525-890a-89f27eb0c2d7" providerId="ADAL" clId="{709A44A0-0266-4CC0-9EFB-4A0017392E72}"/>
    <pc:docChg chg="delSld modSld">
      <pc:chgData name="Elias Omondi" userId="5cf36897-38a5-4525-890a-89f27eb0c2d7" providerId="ADAL" clId="{709A44A0-0266-4CC0-9EFB-4A0017392E72}" dt="2022-10-14T04:35:40.840" v="24" actId="2696"/>
      <pc:docMkLst>
        <pc:docMk/>
      </pc:docMkLst>
      <pc:sldChg chg="modSp mod">
        <pc:chgData name="Elias Omondi" userId="5cf36897-38a5-4525-890a-89f27eb0c2d7" providerId="ADAL" clId="{709A44A0-0266-4CC0-9EFB-4A0017392E72}" dt="2022-10-14T04:33:57.108" v="15" actId="20577"/>
        <pc:sldMkLst>
          <pc:docMk/>
          <pc:sldMk cId="244331174" sldId="280"/>
        </pc:sldMkLst>
        <pc:spChg chg="mod">
          <ac:chgData name="Elias Omondi" userId="5cf36897-38a5-4525-890a-89f27eb0c2d7" providerId="ADAL" clId="{709A44A0-0266-4CC0-9EFB-4A0017392E72}" dt="2022-10-14T04:33:57.108" v="15" actId="20577"/>
          <ac:spMkLst>
            <pc:docMk/>
            <pc:sldMk cId="244331174" sldId="280"/>
            <ac:spMk id="6" creationId="{00000000-0000-0000-0000-000000000000}"/>
          </ac:spMkLst>
        </pc:spChg>
      </pc:sldChg>
      <pc:sldChg chg="del">
        <pc:chgData name="Elias Omondi" userId="5cf36897-38a5-4525-890a-89f27eb0c2d7" providerId="ADAL" clId="{709A44A0-0266-4CC0-9EFB-4A0017392E72}" dt="2022-10-14T04:34:36.915" v="17" actId="2696"/>
        <pc:sldMkLst>
          <pc:docMk/>
          <pc:sldMk cId="1413431083" sldId="579"/>
        </pc:sldMkLst>
      </pc:sldChg>
      <pc:sldChg chg="del">
        <pc:chgData name="Elias Omondi" userId="5cf36897-38a5-4525-890a-89f27eb0c2d7" providerId="ADAL" clId="{709A44A0-0266-4CC0-9EFB-4A0017392E72}" dt="2022-10-14T04:34:33.017" v="16" actId="2696"/>
        <pc:sldMkLst>
          <pc:docMk/>
          <pc:sldMk cId="4095809345" sldId="580"/>
        </pc:sldMkLst>
      </pc:sldChg>
      <pc:sldChg chg="del">
        <pc:chgData name="Elias Omondi" userId="5cf36897-38a5-4525-890a-89f27eb0c2d7" providerId="ADAL" clId="{709A44A0-0266-4CC0-9EFB-4A0017392E72}" dt="2022-10-14T04:34:44.397" v="18" actId="2696"/>
        <pc:sldMkLst>
          <pc:docMk/>
          <pc:sldMk cId="347587633" sldId="3435"/>
        </pc:sldMkLst>
      </pc:sldChg>
      <pc:sldChg chg="del">
        <pc:chgData name="Elias Omondi" userId="5cf36897-38a5-4525-890a-89f27eb0c2d7" providerId="ADAL" clId="{709A44A0-0266-4CC0-9EFB-4A0017392E72}" dt="2022-10-14T04:35:09.892" v="19" actId="2696"/>
        <pc:sldMkLst>
          <pc:docMk/>
          <pc:sldMk cId="2283054780" sldId="3438"/>
        </pc:sldMkLst>
      </pc:sldChg>
      <pc:sldChg chg="del">
        <pc:chgData name="Elias Omondi" userId="5cf36897-38a5-4525-890a-89f27eb0c2d7" providerId="ADAL" clId="{709A44A0-0266-4CC0-9EFB-4A0017392E72}" dt="2022-10-14T04:35:14.972" v="20" actId="2696"/>
        <pc:sldMkLst>
          <pc:docMk/>
          <pc:sldMk cId="2218190659" sldId="3439"/>
        </pc:sldMkLst>
      </pc:sldChg>
      <pc:sldChg chg="del">
        <pc:chgData name="Elias Omondi" userId="5cf36897-38a5-4525-890a-89f27eb0c2d7" providerId="ADAL" clId="{709A44A0-0266-4CC0-9EFB-4A0017392E72}" dt="2022-10-14T04:35:19.807" v="21" actId="2696"/>
        <pc:sldMkLst>
          <pc:docMk/>
          <pc:sldMk cId="1555948396" sldId="3440"/>
        </pc:sldMkLst>
      </pc:sldChg>
      <pc:sldChg chg="del">
        <pc:chgData name="Elias Omondi" userId="5cf36897-38a5-4525-890a-89f27eb0c2d7" providerId="ADAL" clId="{709A44A0-0266-4CC0-9EFB-4A0017392E72}" dt="2022-10-14T04:35:31.778" v="22" actId="2696"/>
        <pc:sldMkLst>
          <pc:docMk/>
          <pc:sldMk cId="434701879" sldId="3452"/>
        </pc:sldMkLst>
      </pc:sldChg>
      <pc:sldChg chg="del">
        <pc:chgData name="Elias Omondi" userId="5cf36897-38a5-4525-890a-89f27eb0c2d7" providerId="ADAL" clId="{709A44A0-0266-4CC0-9EFB-4A0017392E72}" dt="2022-10-14T04:35:37.502" v="23" actId="2696"/>
        <pc:sldMkLst>
          <pc:docMk/>
          <pc:sldMk cId="225128818" sldId="3453"/>
        </pc:sldMkLst>
      </pc:sldChg>
      <pc:sldChg chg="del">
        <pc:chgData name="Elias Omondi" userId="5cf36897-38a5-4525-890a-89f27eb0c2d7" providerId="ADAL" clId="{709A44A0-0266-4CC0-9EFB-4A0017392E72}" dt="2022-10-14T04:35:40.840" v="24" actId="2696"/>
        <pc:sldMkLst>
          <pc:docMk/>
          <pc:sldMk cId="2716520777" sldId="3454"/>
        </pc:sldMkLst>
      </pc:sldChg>
      <pc:sldMasterChg chg="delSldLayout">
        <pc:chgData name="Elias Omondi" userId="5cf36897-38a5-4525-890a-89f27eb0c2d7" providerId="ADAL" clId="{709A44A0-0266-4CC0-9EFB-4A0017392E72}" dt="2022-10-14T04:34:44.397" v="18" actId="2696"/>
        <pc:sldMasterMkLst>
          <pc:docMk/>
          <pc:sldMasterMk cId="496728438" sldId="2147483702"/>
        </pc:sldMasterMkLst>
        <pc:sldLayoutChg chg="del">
          <pc:chgData name="Elias Omondi" userId="5cf36897-38a5-4525-890a-89f27eb0c2d7" providerId="ADAL" clId="{709A44A0-0266-4CC0-9EFB-4A0017392E72}" dt="2022-10-14T04:34:44.397" v="18" actId="2696"/>
          <pc:sldLayoutMkLst>
            <pc:docMk/>
            <pc:sldMasterMk cId="496728438" sldId="2147483702"/>
            <pc:sldLayoutMk cId="4015745" sldId="2147483771"/>
          </pc:sldLayoutMkLst>
        </pc:sldLayoutChg>
      </pc:sldMasterChg>
    </pc:docChg>
  </pc:docChgLst>
  <pc:docChgLst>
    <pc:chgData name="Elias Omondi" userId="5cf36897-38a5-4525-890a-89f27eb0c2d7" providerId="ADAL" clId="{724FCDBA-0E74-43ED-B392-B8D4276D1025}"/>
    <pc:docChg chg="undo custSel addSld delSld modSld sldOrd">
      <pc:chgData name="Elias Omondi" userId="5cf36897-38a5-4525-890a-89f27eb0c2d7" providerId="ADAL" clId="{724FCDBA-0E74-43ED-B392-B8D4276D1025}" dt="2022-08-26T05:04:56.850" v="616" actId="2696"/>
      <pc:docMkLst>
        <pc:docMk/>
      </pc:docMkLst>
      <pc:sldChg chg="addSp delSp modSp mod">
        <pc:chgData name="Elias Omondi" userId="5cf36897-38a5-4525-890a-89f27eb0c2d7" providerId="ADAL" clId="{724FCDBA-0E74-43ED-B392-B8D4276D1025}" dt="2022-08-23T11:28:58.644" v="458" actId="14100"/>
        <pc:sldMkLst>
          <pc:docMk/>
          <pc:sldMk cId="244331174" sldId="280"/>
        </pc:sldMkLst>
        <pc:spChg chg="mod">
          <ac:chgData name="Elias Omondi" userId="5cf36897-38a5-4525-890a-89f27eb0c2d7" providerId="ADAL" clId="{724FCDBA-0E74-43ED-B392-B8D4276D1025}" dt="2022-08-22T06:10:50.370" v="3" actId="14100"/>
          <ac:spMkLst>
            <pc:docMk/>
            <pc:sldMk cId="244331174" sldId="280"/>
            <ac:spMk id="4" creationId="{00000000-0000-0000-0000-000000000000}"/>
          </ac:spMkLst>
        </pc:spChg>
        <pc:spChg chg="mod">
          <ac:chgData name="Elias Omondi" userId="5cf36897-38a5-4525-890a-89f27eb0c2d7" providerId="ADAL" clId="{724FCDBA-0E74-43ED-B392-B8D4276D1025}" dt="2022-08-23T11:28:58.644" v="458" actId="14100"/>
          <ac:spMkLst>
            <pc:docMk/>
            <pc:sldMk cId="244331174" sldId="280"/>
            <ac:spMk id="5" creationId="{00000000-0000-0000-0000-000000000000}"/>
          </ac:spMkLst>
        </pc:spChg>
        <pc:grpChg chg="mod">
          <ac:chgData name="Elias Omondi" userId="5cf36897-38a5-4525-890a-89f27eb0c2d7" providerId="ADAL" clId="{724FCDBA-0E74-43ED-B392-B8D4276D1025}" dt="2022-08-22T06:10:50.370" v="3" actId="14100"/>
          <ac:grpSpMkLst>
            <pc:docMk/>
            <pc:sldMk cId="244331174" sldId="280"/>
            <ac:grpSpMk id="2" creationId="{00000000-0000-0000-0000-000000000000}"/>
          </ac:grpSpMkLst>
        </pc:grpChg>
        <pc:grpChg chg="mod">
          <ac:chgData name="Elias Omondi" userId="5cf36897-38a5-4525-890a-89f27eb0c2d7" providerId="ADAL" clId="{724FCDBA-0E74-43ED-B392-B8D4276D1025}" dt="2022-08-22T06:11:22.767" v="12" actId="1076"/>
          <ac:grpSpMkLst>
            <pc:docMk/>
            <pc:sldMk cId="244331174" sldId="280"/>
            <ac:grpSpMk id="7" creationId="{00000000-0000-0000-0000-000000000000}"/>
          </ac:grpSpMkLst>
        </pc:grpChg>
        <pc:picChg chg="mod">
          <ac:chgData name="Elias Omondi" userId="5cf36897-38a5-4525-890a-89f27eb0c2d7" providerId="ADAL" clId="{724FCDBA-0E74-43ED-B392-B8D4276D1025}" dt="2022-08-22T06:10:50.370" v="3" actId="14100"/>
          <ac:picMkLst>
            <pc:docMk/>
            <pc:sldMk cId="244331174" sldId="280"/>
            <ac:picMk id="3" creationId="{00000000-0000-0000-0000-000000000000}"/>
          </ac:picMkLst>
        </pc:picChg>
        <pc:picChg chg="del">
          <ac:chgData name="Elias Omondi" userId="5cf36897-38a5-4525-890a-89f27eb0c2d7" providerId="ADAL" clId="{724FCDBA-0E74-43ED-B392-B8D4276D1025}" dt="2022-08-22T06:10:04.931" v="0" actId="478"/>
          <ac:picMkLst>
            <pc:docMk/>
            <pc:sldMk cId="244331174" sldId="280"/>
            <ac:picMk id="21" creationId="{8ECFAD8C-A570-51EB-16D2-33BC7771BBD8}"/>
          </ac:picMkLst>
        </pc:picChg>
        <pc:picChg chg="add del mod">
          <ac:chgData name="Elias Omondi" userId="5cf36897-38a5-4525-890a-89f27eb0c2d7" providerId="ADAL" clId="{724FCDBA-0E74-43ED-B392-B8D4276D1025}" dt="2022-08-22T06:10:50.846" v="4"/>
          <ac:picMkLst>
            <pc:docMk/>
            <pc:sldMk cId="244331174" sldId="280"/>
            <ac:picMk id="1026" creationId="{996E92FE-C2D1-164C-D900-93CEF288924C}"/>
          </ac:picMkLst>
        </pc:picChg>
        <pc:picChg chg="add mod">
          <ac:chgData name="Elias Omondi" userId="5cf36897-38a5-4525-890a-89f27eb0c2d7" providerId="ADAL" clId="{724FCDBA-0E74-43ED-B392-B8D4276D1025}" dt="2022-08-22T06:11:31.115" v="15" actId="1076"/>
          <ac:picMkLst>
            <pc:docMk/>
            <pc:sldMk cId="244331174" sldId="280"/>
            <ac:picMk id="1028" creationId="{6ABBFD5E-674C-6CC1-1E52-D8DCAFE9F857}"/>
          </ac:picMkLst>
        </pc:picChg>
      </pc:sldChg>
      <pc:sldChg chg="del">
        <pc:chgData name="Elias Omondi" userId="5cf36897-38a5-4525-890a-89f27eb0c2d7" providerId="ADAL" clId="{724FCDBA-0E74-43ED-B392-B8D4276D1025}" dt="2022-08-23T11:21:32.655" v="397" actId="2696"/>
        <pc:sldMkLst>
          <pc:docMk/>
          <pc:sldMk cId="1131888217" sldId="295"/>
        </pc:sldMkLst>
      </pc:sldChg>
      <pc:sldChg chg="del">
        <pc:chgData name="Elias Omondi" userId="5cf36897-38a5-4525-890a-89f27eb0c2d7" providerId="ADAL" clId="{724FCDBA-0E74-43ED-B392-B8D4276D1025}" dt="2022-08-23T10:48:43.407" v="176" actId="2696"/>
        <pc:sldMkLst>
          <pc:docMk/>
          <pc:sldMk cId="2417713188" sldId="578"/>
        </pc:sldMkLst>
      </pc:sldChg>
      <pc:sldChg chg="del">
        <pc:chgData name="Elias Omondi" userId="5cf36897-38a5-4525-890a-89f27eb0c2d7" providerId="ADAL" clId="{724FCDBA-0E74-43ED-B392-B8D4276D1025}" dt="2022-08-23T10:48:32.901" v="175" actId="2696"/>
        <pc:sldMkLst>
          <pc:docMk/>
          <pc:sldMk cId="1845030259" sldId="3429"/>
        </pc:sldMkLst>
      </pc:sldChg>
      <pc:sldChg chg="modSp del mod">
        <pc:chgData name="Elias Omondi" userId="5cf36897-38a5-4525-890a-89f27eb0c2d7" providerId="ADAL" clId="{724FCDBA-0E74-43ED-B392-B8D4276D1025}" dt="2022-08-22T06:34:52.734" v="172" actId="2696"/>
        <pc:sldMkLst>
          <pc:docMk/>
          <pc:sldMk cId="2963459384" sldId="3431"/>
        </pc:sldMkLst>
        <pc:picChg chg="mod">
          <ac:chgData name="Elias Omondi" userId="5cf36897-38a5-4525-890a-89f27eb0c2d7" providerId="ADAL" clId="{724FCDBA-0E74-43ED-B392-B8D4276D1025}" dt="2022-08-22T06:32:14.023" v="149" actId="14100"/>
          <ac:picMkLst>
            <pc:docMk/>
            <pc:sldMk cId="2963459384" sldId="3431"/>
            <ac:picMk id="3" creationId="{5D742893-6B07-0341-A214-2A097AA0C074}"/>
          </ac:picMkLst>
        </pc:picChg>
      </pc:sldChg>
      <pc:sldChg chg="del">
        <pc:chgData name="Elias Omondi" userId="5cf36897-38a5-4525-890a-89f27eb0c2d7" providerId="ADAL" clId="{724FCDBA-0E74-43ED-B392-B8D4276D1025}" dt="2022-08-26T04:46:11.532" v="459" actId="2696"/>
        <pc:sldMkLst>
          <pc:docMk/>
          <pc:sldMk cId="2586481528" sldId="3432"/>
        </pc:sldMkLst>
      </pc:sldChg>
      <pc:sldChg chg="addSp delSp modSp del mod">
        <pc:chgData name="Elias Omondi" userId="5cf36897-38a5-4525-890a-89f27eb0c2d7" providerId="ADAL" clId="{724FCDBA-0E74-43ED-B392-B8D4276D1025}" dt="2022-08-26T05:04:52.074" v="615" actId="2696"/>
        <pc:sldMkLst>
          <pc:docMk/>
          <pc:sldMk cId="1896549889" sldId="3433"/>
        </pc:sldMkLst>
        <pc:spChg chg="del">
          <ac:chgData name="Elias Omondi" userId="5cf36897-38a5-4525-890a-89f27eb0c2d7" providerId="ADAL" clId="{724FCDBA-0E74-43ED-B392-B8D4276D1025}" dt="2022-08-23T11:21:47.830" v="400" actId="478"/>
          <ac:spMkLst>
            <pc:docMk/>
            <pc:sldMk cId="1896549889" sldId="3433"/>
            <ac:spMk id="3" creationId="{EB0B711B-011B-3346-8457-39F5877F3632}"/>
          </ac:spMkLst>
        </pc:spChg>
        <pc:spChg chg="add del mod">
          <ac:chgData name="Elias Omondi" userId="5cf36897-38a5-4525-890a-89f27eb0c2d7" providerId="ADAL" clId="{724FCDBA-0E74-43ED-B392-B8D4276D1025}" dt="2022-08-23T11:21:50.828" v="401" actId="478"/>
          <ac:spMkLst>
            <pc:docMk/>
            <pc:sldMk cId="1896549889" sldId="3433"/>
            <ac:spMk id="10" creationId="{3E1BEFDC-9A2F-FD55-D183-BF88396BAED5}"/>
          </ac:spMkLst>
        </pc:spChg>
      </pc:sldChg>
      <pc:sldChg chg="addSp delSp modSp del mod">
        <pc:chgData name="Elias Omondi" userId="5cf36897-38a5-4525-890a-89f27eb0c2d7" providerId="ADAL" clId="{724FCDBA-0E74-43ED-B392-B8D4276D1025}" dt="2022-08-26T05:04:56.850" v="616" actId="2696"/>
        <pc:sldMkLst>
          <pc:docMk/>
          <pc:sldMk cId="4146246008" sldId="3434"/>
        </pc:sldMkLst>
        <pc:spChg chg="del">
          <ac:chgData name="Elias Omondi" userId="5cf36897-38a5-4525-890a-89f27eb0c2d7" providerId="ADAL" clId="{724FCDBA-0E74-43ED-B392-B8D4276D1025}" dt="2022-08-23T11:21:39.372" v="398" actId="478"/>
          <ac:spMkLst>
            <pc:docMk/>
            <pc:sldMk cId="4146246008" sldId="3434"/>
            <ac:spMk id="3" creationId="{EB0B711B-011B-3346-8457-39F5877F3632}"/>
          </ac:spMkLst>
        </pc:spChg>
        <pc:spChg chg="add del mod">
          <ac:chgData name="Elias Omondi" userId="5cf36897-38a5-4525-890a-89f27eb0c2d7" providerId="ADAL" clId="{724FCDBA-0E74-43ED-B392-B8D4276D1025}" dt="2022-08-23T11:21:43.185" v="399" actId="478"/>
          <ac:spMkLst>
            <pc:docMk/>
            <pc:sldMk cId="4146246008" sldId="3434"/>
            <ac:spMk id="8" creationId="{57FEC25B-1B83-3B8A-FAC7-DDF7B6DD926A}"/>
          </ac:spMkLst>
        </pc:spChg>
      </pc:sldChg>
      <pc:sldChg chg="del">
        <pc:chgData name="Elias Omondi" userId="5cf36897-38a5-4525-890a-89f27eb0c2d7" providerId="ADAL" clId="{724FCDBA-0E74-43ED-B392-B8D4276D1025}" dt="2022-08-23T11:22:13.277" v="402" actId="2696"/>
        <pc:sldMkLst>
          <pc:docMk/>
          <pc:sldMk cId="496464580" sldId="3437"/>
        </pc:sldMkLst>
      </pc:sldChg>
      <pc:sldChg chg="delSp">
        <pc:chgData name="Elias Omondi" userId="5cf36897-38a5-4525-890a-89f27eb0c2d7" providerId="ADAL" clId="{724FCDBA-0E74-43ED-B392-B8D4276D1025}" dt="2022-08-22T06:12:16.054" v="16"/>
        <pc:sldMkLst>
          <pc:docMk/>
          <pc:sldMk cId="985049820" sldId="3441"/>
        </pc:sldMkLst>
        <pc:picChg chg="del">
          <ac:chgData name="Elias Omondi" userId="5cf36897-38a5-4525-890a-89f27eb0c2d7" providerId="ADAL" clId="{724FCDBA-0E74-43ED-B392-B8D4276D1025}" dt="2022-08-22T06:12:16.054" v="16"/>
          <ac:picMkLst>
            <pc:docMk/>
            <pc:sldMk cId="985049820" sldId="3441"/>
            <ac:picMk id="2050" creationId="{A78D9247-925F-A01D-0433-426BA2B83C12}"/>
          </ac:picMkLst>
        </pc:picChg>
      </pc:sldChg>
      <pc:sldChg chg="addSp delSp modSp new mod">
        <pc:chgData name="Elias Omondi" userId="5cf36897-38a5-4525-890a-89f27eb0c2d7" providerId="ADAL" clId="{724FCDBA-0E74-43ED-B392-B8D4276D1025}" dt="2022-08-22T06:16:57.641" v="29" actId="1076"/>
        <pc:sldMkLst>
          <pc:docMk/>
          <pc:sldMk cId="2548504217" sldId="3442"/>
        </pc:sldMkLst>
        <pc:spChg chg="mod">
          <ac:chgData name="Elias Omondi" userId="5cf36897-38a5-4525-890a-89f27eb0c2d7" providerId="ADAL" clId="{724FCDBA-0E74-43ED-B392-B8D4276D1025}" dt="2022-08-22T06:14:04.398" v="19" actId="14100"/>
          <ac:spMkLst>
            <pc:docMk/>
            <pc:sldMk cId="2548504217" sldId="3442"/>
            <ac:spMk id="2" creationId="{DBB06AAD-65AB-1487-2F3F-0F00E26BF70C}"/>
          </ac:spMkLst>
        </pc:spChg>
        <pc:spChg chg="del">
          <ac:chgData name="Elias Omondi" userId="5cf36897-38a5-4525-890a-89f27eb0c2d7" providerId="ADAL" clId="{724FCDBA-0E74-43ED-B392-B8D4276D1025}" dt="2022-08-22T06:14:09.719" v="20" actId="478"/>
          <ac:spMkLst>
            <pc:docMk/>
            <pc:sldMk cId="2548504217" sldId="3442"/>
            <ac:spMk id="3" creationId="{3B87BC10-F981-981A-FC65-018F97DBE779}"/>
          </ac:spMkLst>
        </pc:spChg>
        <pc:spChg chg="add mod">
          <ac:chgData name="Elias Omondi" userId="5cf36897-38a5-4525-890a-89f27eb0c2d7" providerId="ADAL" clId="{724FCDBA-0E74-43ED-B392-B8D4276D1025}" dt="2022-08-22T06:16:57.641" v="29" actId="1076"/>
          <ac:spMkLst>
            <pc:docMk/>
            <pc:sldMk cId="2548504217" sldId="3442"/>
            <ac:spMk id="9" creationId="{2EA98985-99D0-571C-C4A5-B8010C50F17E}"/>
          </ac:spMkLst>
        </pc:spChg>
        <pc:picChg chg="add mod">
          <ac:chgData name="Elias Omondi" userId="5cf36897-38a5-4525-890a-89f27eb0c2d7" providerId="ADAL" clId="{724FCDBA-0E74-43ED-B392-B8D4276D1025}" dt="2022-08-22T06:16:29.150" v="26" actId="1076"/>
          <ac:picMkLst>
            <pc:docMk/>
            <pc:sldMk cId="2548504217" sldId="3442"/>
            <ac:picMk id="7" creationId="{14E2649A-4E9C-0679-5917-3925E680FC31}"/>
          </ac:picMkLst>
        </pc:picChg>
      </pc:sldChg>
      <pc:sldChg chg="addSp delSp modSp new mod">
        <pc:chgData name="Elias Omondi" userId="5cf36897-38a5-4525-890a-89f27eb0c2d7" providerId="ADAL" clId="{724FCDBA-0E74-43ED-B392-B8D4276D1025}" dt="2022-08-22T06:21:05.412" v="55" actId="478"/>
        <pc:sldMkLst>
          <pc:docMk/>
          <pc:sldMk cId="3001883873" sldId="3443"/>
        </pc:sldMkLst>
        <pc:spChg chg="mod">
          <ac:chgData name="Elias Omondi" userId="5cf36897-38a5-4525-890a-89f27eb0c2d7" providerId="ADAL" clId="{724FCDBA-0E74-43ED-B392-B8D4276D1025}" dt="2022-08-22T06:17:27.402" v="31"/>
          <ac:spMkLst>
            <pc:docMk/>
            <pc:sldMk cId="3001883873" sldId="3443"/>
            <ac:spMk id="2" creationId="{22D868DB-48E0-3ADA-7F79-3E241F78A6FF}"/>
          </ac:spMkLst>
        </pc:spChg>
        <pc:spChg chg="del">
          <ac:chgData name="Elias Omondi" userId="5cf36897-38a5-4525-890a-89f27eb0c2d7" providerId="ADAL" clId="{724FCDBA-0E74-43ED-B392-B8D4276D1025}" dt="2022-08-22T06:21:05.412" v="55" actId="478"/>
          <ac:spMkLst>
            <pc:docMk/>
            <pc:sldMk cId="3001883873" sldId="3443"/>
            <ac:spMk id="3" creationId="{2B3ACF65-AD5E-230F-3E52-3E0AF73E0BD7}"/>
          </ac:spMkLst>
        </pc:spChg>
        <pc:spChg chg="add mod">
          <ac:chgData name="Elias Omondi" userId="5cf36897-38a5-4525-890a-89f27eb0c2d7" providerId="ADAL" clId="{724FCDBA-0E74-43ED-B392-B8D4276D1025}" dt="2022-08-22T06:20:09.489" v="46" actId="14100"/>
          <ac:spMkLst>
            <pc:docMk/>
            <pc:sldMk cId="3001883873" sldId="3443"/>
            <ac:spMk id="7" creationId="{75E1E91E-4C69-D11B-07B5-4E78F18F8D84}"/>
          </ac:spMkLst>
        </pc:spChg>
        <pc:picChg chg="add mod">
          <ac:chgData name="Elias Omondi" userId="5cf36897-38a5-4525-890a-89f27eb0c2d7" providerId="ADAL" clId="{724FCDBA-0E74-43ED-B392-B8D4276D1025}" dt="2022-08-22T06:20:39.264" v="51" actId="1076"/>
          <ac:picMkLst>
            <pc:docMk/>
            <pc:sldMk cId="3001883873" sldId="3443"/>
            <ac:picMk id="9" creationId="{B5268AD5-CF26-9C8B-23B9-AE402ED3AE4B}"/>
          </ac:picMkLst>
        </pc:picChg>
        <pc:picChg chg="add mod">
          <ac:chgData name="Elias Omondi" userId="5cf36897-38a5-4525-890a-89f27eb0c2d7" providerId="ADAL" clId="{724FCDBA-0E74-43ED-B392-B8D4276D1025}" dt="2022-08-22T06:21:03.327" v="54" actId="1076"/>
          <ac:picMkLst>
            <pc:docMk/>
            <pc:sldMk cId="3001883873" sldId="3443"/>
            <ac:picMk id="11" creationId="{5CCA1F01-DE1A-AA35-F8AA-B3AE97BF5042}"/>
          </ac:picMkLst>
        </pc:picChg>
        <pc:picChg chg="add mod">
          <ac:chgData name="Elias Omondi" userId="5cf36897-38a5-4525-890a-89f27eb0c2d7" providerId="ADAL" clId="{724FCDBA-0E74-43ED-B392-B8D4276D1025}" dt="2022-08-22T06:20:47.308" v="52" actId="14100"/>
          <ac:picMkLst>
            <pc:docMk/>
            <pc:sldMk cId="3001883873" sldId="3443"/>
            <ac:picMk id="13" creationId="{369A72BF-665D-862A-FDB3-89EEFAC51EF2}"/>
          </ac:picMkLst>
        </pc:picChg>
      </pc:sldChg>
      <pc:sldChg chg="addSp delSp modSp new mod">
        <pc:chgData name="Elias Omondi" userId="5cf36897-38a5-4525-890a-89f27eb0c2d7" providerId="ADAL" clId="{724FCDBA-0E74-43ED-B392-B8D4276D1025}" dt="2022-08-22T06:23:01.618" v="67" actId="1076"/>
        <pc:sldMkLst>
          <pc:docMk/>
          <pc:sldMk cId="1051552256" sldId="3444"/>
        </pc:sldMkLst>
        <pc:spChg chg="mod">
          <ac:chgData name="Elias Omondi" userId="5cf36897-38a5-4525-890a-89f27eb0c2d7" providerId="ADAL" clId="{724FCDBA-0E74-43ED-B392-B8D4276D1025}" dt="2022-08-22T06:22:53.130" v="65" actId="1076"/>
          <ac:spMkLst>
            <pc:docMk/>
            <pc:sldMk cId="1051552256" sldId="3444"/>
            <ac:spMk id="2" creationId="{B7DD319D-F68C-0A8D-A8A6-A1A34BF69C9E}"/>
          </ac:spMkLst>
        </pc:spChg>
        <pc:spChg chg="del">
          <ac:chgData name="Elias Omondi" userId="5cf36897-38a5-4525-890a-89f27eb0c2d7" providerId="ADAL" clId="{724FCDBA-0E74-43ED-B392-B8D4276D1025}" dt="2022-08-22T06:22:14.548" v="59" actId="478"/>
          <ac:spMkLst>
            <pc:docMk/>
            <pc:sldMk cId="1051552256" sldId="3444"/>
            <ac:spMk id="3" creationId="{635ED288-8B6A-1BEB-506C-A4564DBCDEE0}"/>
          </ac:spMkLst>
        </pc:spChg>
        <pc:picChg chg="add mod">
          <ac:chgData name="Elias Omondi" userId="5cf36897-38a5-4525-890a-89f27eb0c2d7" providerId="ADAL" clId="{724FCDBA-0E74-43ED-B392-B8D4276D1025}" dt="2022-08-22T06:23:01.618" v="67" actId="1076"/>
          <ac:picMkLst>
            <pc:docMk/>
            <pc:sldMk cId="1051552256" sldId="3444"/>
            <ac:picMk id="7" creationId="{6B83050E-4685-E674-018A-6F89930CA10E}"/>
          </ac:picMkLst>
        </pc:picChg>
      </pc:sldChg>
      <pc:sldChg chg="addSp delSp modSp new mod">
        <pc:chgData name="Elias Omondi" userId="5cf36897-38a5-4525-890a-89f27eb0c2d7" providerId="ADAL" clId="{724FCDBA-0E74-43ED-B392-B8D4276D1025}" dt="2022-08-22T06:25:04.596" v="84" actId="1076"/>
        <pc:sldMkLst>
          <pc:docMk/>
          <pc:sldMk cId="4148858841" sldId="3445"/>
        </pc:sldMkLst>
        <pc:spChg chg="mod">
          <ac:chgData name="Elias Omondi" userId="5cf36897-38a5-4525-890a-89f27eb0c2d7" providerId="ADAL" clId="{724FCDBA-0E74-43ED-B392-B8D4276D1025}" dt="2022-08-22T06:24:28.679" v="80" actId="255"/>
          <ac:spMkLst>
            <pc:docMk/>
            <pc:sldMk cId="4148858841" sldId="3445"/>
            <ac:spMk id="2" creationId="{65F55CC9-6B64-3B61-4EFE-30E389FBC423}"/>
          </ac:spMkLst>
        </pc:spChg>
        <pc:spChg chg="del">
          <ac:chgData name="Elias Omondi" userId="5cf36897-38a5-4525-890a-89f27eb0c2d7" providerId="ADAL" clId="{724FCDBA-0E74-43ED-B392-B8D4276D1025}" dt="2022-08-22T06:23:24.545" v="70" actId="478"/>
          <ac:spMkLst>
            <pc:docMk/>
            <pc:sldMk cId="4148858841" sldId="3445"/>
            <ac:spMk id="3" creationId="{63312B99-37A9-2A75-D88B-2D9236E6A461}"/>
          </ac:spMkLst>
        </pc:spChg>
        <pc:spChg chg="add mod">
          <ac:chgData name="Elias Omondi" userId="5cf36897-38a5-4525-890a-89f27eb0c2d7" providerId="ADAL" clId="{724FCDBA-0E74-43ED-B392-B8D4276D1025}" dt="2022-08-22T06:24:20.036" v="79" actId="5793"/>
          <ac:spMkLst>
            <pc:docMk/>
            <pc:sldMk cId="4148858841" sldId="3445"/>
            <ac:spMk id="7" creationId="{B3DDB5F8-F6CD-2B90-6ED2-E5EACD12D8E9}"/>
          </ac:spMkLst>
        </pc:spChg>
        <pc:picChg chg="add mod">
          <ac:chgData name="Elias Omondi" userId="5cf36897-38a5-4525-890a-89f27eb0c2d7" providerId="ADAL" clId="{724FCDBA-0E74-43ED-B392-B8D4276D1025}" dt="2022-08-22T06:25:04.596" v="84" actId="1076"/>
          <ac:picMkLst>
            <pc:docMk/>
            <pc:sldMk cId="4148858841" sldId="3445"/>
            <ac:picMk id="9" creationId="{B1FE9D12-F986-2293-6CDB-63494CCF0835}"/>
          </ac:picMkLst>
        </pc:picChg>
      </pc:sldChg>
      <pc:sldChg chg="addSp delSp modSp new mod">
        <pc:chgData name="Elias Omondi" userId="5cf36897-38a5-4525-890a-89f27eb0c2d7" providerId="ADAL" clId="{724FCDBA-0E74-43ED-B392-B8D4276D1025}" dt="2022-08-22T06:26:46.955" v="92" actId="1076"/>
        <pc:sldMkLst>
          <pc:docMk/>
          <pc:sldMk cId="1424755497" sldId="3446"/>
        </pc:sldMkLst>
        <pc:spChg chg="mod">
          <ac:chgData name="Elias Omondi" userId="5cf36897-38a5-4525-890a-89f27eb0c2d7" providerId="ADAL" clId="{724FCDBA-0E74-43ED-B392-B8D4276D1025}" dt="2022-08-22T06:26:19.009" v="87" actId="14100"/>
          <ac:spMkLst>
            <pc:docMk/>
            <pc:sldMk cId="1424755497" sldId="3446"/>
            <ac:spMk id="2" creationId="{F111D642-F9C8-199B-29A7-28F792900461}"/>
          </ac:spMkLst>
        </pc:spChg>
        <pc:spChg chg="del">
          <ac:chgData name="Elias Omondi" userId="5cf36897-38a5-4525-890a-89f27eb0c2d7" providerId="ADAL" clId="{724FCDBA-0E74-43ED-B392-B8D4276D1025}" dt="2022-08-22T06:26:20.963" v="88" actId="478"/>
          <ac:spMkLst>
            <pc:docMk/>
            <pc:sldMk cId="1424755497" sldId="3446"/>
            <ac:spMk id="3" creationId="{9D5E57C6-3924-80B1-74CD-CB024F3387E4}"/>
          </ac:spMkLst>
        </pc:spChg>
        <pc:picChg chg="add mod">
          <ac:chgData name="Elias Omondi" userId="5cf36897-38a5-4525-890a-89f27eb0c2d7" providerId="ADAL" clId="{724FCDBA-0E74-43ED-B392-B8D4276D1025}" dt="2022-08-22T06:26:46.955" v="92" actId="1076"/>
          <ac:picMkLst>
            <pc:docMk/>
            <pc:sldMk cId="1424755497" sldId="3446"/>
            <ac:picMk id="7" creationId="{CEBC0A54-1574-2B77-58E6-9565566C5B71}"/>
          </ac:picMkLst>
        </pc:picChg>
      </pc:sldChg>
      <pc:sldChg chg="addSp delSp modSp new mod modClrScheme chgLayout">
        <pc:chgData name="Elias Omondi" userId="5cf36897-38a5-4525-890a-89f27eb0c2d7" providerId="ADAL" clId="{724FCDBA-0E74-43ED-B392-B8D4276D1025}" dt="2022-08-22T06:34:43.053" v="171" actId="1076"/>
        <pc:sldMkLst>
          <pc:docMk/>
          <pc:sldMk cId="2123757205" sldId="3447"/>
        </pc:sldMkLst>
        <pc:spChg chg="mod ord">
          <ac:chgData name="Elias Omondi" userId="5cf36897-38a5-4525-890a-89f27eb0c2d7" providerId="ADAL" clId="{724FCDBA-0E74-43ED-B392-B8D4276D1025}" dt="2022-08-22T06:34:22.359" v="166" actId="1076"/>
          <ac:spMkLst>
            <pc:docMk/>
            <pc:sldMk cId="2123757205" sldId="3447"/>
            <ac:spMk id="2" creationId="{A0AC4660-E99D-10E5-02E2-A48D6B6A72F1}"/>
          </ac:spMkLst>
        </pc:spChg>
        <pc:spChg chg="del">
          <ac:chgData name="Elias Omondi" userId="5cf36897-38a5-4525-890a-89f27eb0c2d7" providerId="ADAL" clId="{724FCDBA-0E74-43ED-B392-B8D4276D1025}" dt="2022-08-22T06:27:36.473" v="96" actId="478"/>
          <ac:spMkLst>
            <pc:docMk/>
            <pc:sldMk cId="2123757205" sldId="3447"/>
            <ac:spMk id="3" creationId="{BF240BFB-8128-522C-D729-22223015081F}"/>
          </ac:spMkLst>
        </pc:spChg>
        <pc:spChg chg="mod ord">
          <ac:chgData name="Elias Omondi" userId="5cf36897-38a5-4525-890a-89f27eb0c2d7" providerId="ADAL" clId="{724FCDBA-0E74-43ED-B392-B8D4276D1025}" dt="2022-08-22T06:33:54.756" v="159" actId="700"/>
          <ac:spMkLst>
            <pc:docMk/>
            <pc:sldMk cId="2123757205" sldId="3447"/>
            <ac:spMk id="4" creationId="{68C44D52-2CB6-B498-44C5-48772C011D4F}"/>
          </ac:spMkLst>
        </pc:spChg>
        <pc:spChg chg="mod ord">
          <ac:chgData name="Elias Omondi" userId="5cf36897-38a5-4525-890a-89f27eb0c2d7" providerId="ADAL" clId="{724FCDBA-0E74-43ED-B392-B8D4276D1025}" dt="2022-08-22T06:33:54.756" v="159" actId="700"/>
          <ac:spMkLst>
            <pc:docMk/>
            <pc:sldMk cId="2123757205" sldId="3447"/>
            <ac:spMk id="5" creationId="{088F1B50-828C-F6B4-B1C1-C8F086D4DB4B}"/>
          </ac:spMkLst>
        </pc:spChg>
        <pc:spChg chg="add mod">
          <ac:chgData name="Elias Omondi" userId="5cf36897-38a5-4525-890a-89f27eb0c2d7" providerId="ADAL" clId="{724FCDBA-0E74-43ED-B392-B8D4276D1025}" dt="2022-08-22T06:34:34.462" v="169" actId="1076"/>
          <ac:spMkLst>
            <pc:docMk/>
            <pc:sldMk cId="2123757205" sldId="3447"/>
            <ac:spMk id="6" creationId="{D1C80072-3300-03BF-21EE-085731ACB64B}"/>
          </ac:spMkLst>
        </pc:spChg>
        <pc:spChg chg="del mod topLvl">
          <ac:chgData name="Elias Omondi" userId="5cf36897-38a5-4525-890a-89f27eb0c2d7" providerId="ADAL" clId="{724FCDBA-0E74-43ED-B392-B8D4276D1025}" dt="2022-08-22T06:33:00.647" v="151" actId="478"/>
          <ac:spMkLst>
            <pc:docMk/>
            <pc:sldMk cId="2123757205" sldId="3447"/>
            <ac:spMk id="10" creationId="{69F4B198-DBD5-F053-B6BF-35B565A04AFF}"/>
          </ac:spMkLst>
        </pc:spChg>
        <pc:spChg chg="add del mod ord">
          <ac:chgData name="Elias Omondi" userId="5cf36897-38a5-4525-890a-89f27eb0c2d7" providerId="ADAL" clId="{724FCDBA-0E74-43ED-B392-B8D4276D1025}" dt="2022-08-22T06:33:47.694" v="158" actId="700"/>
          <ac:spMkLst>
            <pc:docMk/>
            <pc:sldMk cId="2123757205" sldId="3447"/>
            <ac:spMk id="11" creationId="{D99FB5C3-5F24-A0A5-7386-10601C5F99E4}"/>
          </ac:spMkLst>
        </pc:spChg>
        <pc:spChg chg="add del mod ord">
          <ac:chgData name="Elias Omondi" userId="5cf36897-38a5-4525-890a-89f27eb0c2d7" providerId="ADAL" clId="{724FCDBA-0E74-43ED-B392-B8D4276D1025}" dt="2022-08-22T06:33:47.694" v="158" actId="700"/>
          <ac:spMkLst>
            <pc:docMk/>
            <pc:sldMk cId="2123757205" sldId="3447"/>
            <ac:spMk id="12" creationId="{62C81288-6AA6-2952-9754-B20C12522193}"/>
          </ac:spMkLst>
        </pc:spChg>
        <pc:spChg chg="add del mod ord">
          <ac:chgData name="Elias Omondi" userId="5cf36897-38a5-4525-890a-89f27eb0c2d7" providerId="ADAL" clId="{724FCDBA-0E74-43ED-B392-B8D4276D1025}" dt="2022-08-22T06:34:00.122" v="160" actId="478"/>
          <ac:spMkLst>
            <pc:docMk/>
            <pc:sldMk cId="2123757205" sldId="3447"/>
            <ac:spMk id="13" creationId="{891AC00B-EAC2-1CFE-7181-D0BBFAA3DD14}"/>
          </ac:spMkLst>
        </pc:spChg>
        <pc:grpChg chg="add del mod">
          <ac:chgData name="Elias Omondi" userId="5cf36897-38a5-4525-890a-89f27eb0c2d7" providerId="ADAL" clId="{724FCDBA-0E74-43ED-B392-B8D4276D1025}" dt="2022-08-22T06:33:00.647" v="151" actId="478"/>
          <ac:grpSpMkLst>
            <pc:docMk/>
            <pc:sldMk cId="2123757205" sldId="3447"/>
            <ac:grpSpMk id="8" creationId="{8DA13015-328A-9BD9-DBA7-C7CF41D01146}"/>
          </ac:grpSpMkLst>
        </pc:grpChg>
        <pc:picChg chg="add mod">
          <ac:chgData name="Elias Omondi" userId="5cf36897-38a5-4525-890a-89f27eb0c2d7" providerId="ADAL" clId="{724FCDBA-0E74-43ED-B392-B8D4276D1025}" dt="2022-08-22T06:34:43.053" v="171" actId="1076"/>
          <ac:picMkLst>
            <pc:docMk/>
            <pc:sldMk cId="2123757205" sldId="3447"/>
            <ac:picMk id="7" creationId="{0677ED57-304F-BF04-A782-D39C86BE5291}"/>
          </ac:picMkLst>
        </pc:picChg>
        <pc:picChg chg="mod topLvl">
          <ac:chgData name="Elias Omondi" userId="5cf36897-38a5-4525-890a-89f27eb0c2d7" providerId="ADAL" clId="{724FCDBA-0E74-43ED-B392-B8D4276D1025}" dt="2022-08-22T06:34:39.754" v="170" actId="1076"/>
          <ac:picMkLst>
            <pc:docMk/>
            <pc:sldMk cId="2123757205" sldId="3447"/>
            <ac:picMk id="9" creationId="{2C839654-F9D6-6294-CFAA-DAA1C15117C1}"/>
          </ac:picMkLst>
        </pc:picChg>
      </pc:sldChg>
      <pc:sldChg chg="new del">
        <pc:chgData name="Elias Omondi" userId="5cf36897-38a5-4525-890a-89f27eb0c2d7" providerId="ADAL" clId="{724FCDBA-0E74-43ED-B392-B8D4276D1025}" dt="2022-08-23T10:48:18.596" v="174" actId="2696"/>
        <pc:sldMkLst>
          <pc:docMk/>
          <pc:sldMk cId="2326099000" sldId="3448"/>
        </pc:sldMkLst>
      </pc:sldChg>
      <pc:sldChg chg="new del">
        <pc:chgData name="Elias Omondi" userId="5cf36897-38a5-4525-890a-89f27eb0c2d7" providerId="ADAL" clId="{724FCDBA-0E74-43ED-B392-B8D4276D1025}" dt="2022-08-23T10:49:43.608" v="178" actId="2696"/>
        <pc:sldMkLst>
          <pc:docMk/>
          <pc:sldMk cId="2936611606" sldId="3448"/>
        </pc:sldMkLst>
      </pc:sldChg>
      <pc:sldChg chg="addSp delSp modSp add mod ord">
        <pc:chgData name="Elias Omondi" userId="5cf36897-38a5-4525-890a-89f27eb0c2d7" providerId="ADAL" clId="{724FCDBA-0E74-43ED-B392-B8D4276D1025}" dt="2022-08-23T10:59:02.864" v="244" actId="22"/>
        <pc:sldMkLst>
          <pc:docMk/>
          <pc:sldMk cId="3444943823" sldId="3448"/>
        </pc:sldMkLst>
        <pc:spChg chg="mod">
          <ac:chgData name="Elias Omondi" userId="5cf36897-38a5-4525-890a-89f27eb0c2d7" providerId="ADAL" clId="{724FCDBA-0E74-43ED-B392-B8D4276D1025}" dt="2022-08-23T10:58:56.448" v="242" actId="1076"/>
          <ac:spMkLst>
            <pc:docMk/>
            <pc:sldMk cId="3444943823" sldId="3448"/>
            <ac:spMk id="2" creationId="{B0A5CE05-DB5C-8941-A61B-A492B68276E9}"/>
          </ac:spMkLst>
        </pc:spChg>
        <pc:spChg chg="add del">
          <ac:chgData name="Elias Omondi" userId="5cf36897-38a5-4525-890a-89f27eb0c2d7" providerId="ADAL" clId="{724FCDBA-0E74-43ED-B392-B8D4276D1025}" dt="2022-08-23T10:59:02.864" v="244" actId="22"/>
          <ac:spMkLst>
            <pc:docMk/>
            <pc:sldMk cId="3444943823" sldId="3448"/>
            <ac:spMk id="6" creationId="{D3142967-40EB-6471-321A-DB09669AA646}"/>
          </ac:spMkLst>
        </pc:spChg>
        <pc:spChg chg="mod">
          <ac:chgData name="Elias Omondi" userId="5cf36897-38a5-4525-890a-89f27eb0c2d7" providerId="ADAL" clId="{724FCDBA-0E74-43ED-B392-B8D4276D1025}" dt="2022-08-23T10:58:49.086" v="240" actId="14100"/>
          <ac:spMkLst>
            <pc:docMk/>
            <pc:sldMk cId="3444943823" sldId="3448"/>
            <ac:spMk id="23" creationId="{69FD12D1-1CF9-1140-A74A-9F0207BABF3E}"/>
          </ac:spMkLst>
        </pc:spChg>
        <pc:grpChg chg="del mod">
          <ac:chgData name="Elias Omondi" userId="5cf36897-38a5-4525-890a-89f27eb0c2d7" providerId="ADAL" clId="{724FCDBA-0E74-43ED-B392-B8D4276D1025}" dt="2022-08-23T10:53:46.272" v="186" actId="478"/>
          <ac:grpSpMkLst>
            <pc:docMk/>
            <pc:sldMk cId="3444943823" sldId="3448"/>
            <ac:grpSpMk id="11" creationId="{4DE39729-5556-4962-8061-66B418A5BCD4}"/>
          </ac:grpSpMkLst>
        </pc:grpChg>
        <pc:picChg chg="add del mod">
          <ac:chgData name="Elias Omondi" userId="5cf36897-38a5-4525-890a-89f27eb0c2d7" providerId="ADAL" clId="{724FCDBA-0E74-43ED-B392-B8D4276D1025}" dt="2022-08-23T10:54:55.476" v="191" actId="478"/>
          <ac:picMkLst>
            <pc:docMk/>
            <pc:sldMk cId="3444943823" sldId="3448"/>
            <ac:picMk id="1026" creationId="{44901911-759E-A308-A19E-076547DD7E3D}"/>
          </ac:picMkLst>
        </pc:picChg>
        <pc:picChg chg="add mod">
          <ac:chgData name="Elias Omondi" userId="5cf36897-38a5-4525-890a-89f27eb0c2d7" providerId="ADAL" clId="{724FCDBA-0E74-43ED-B392-B8D4276D1025}" dt="2022-08-23T10:58:52.886" v="241" actId="1076"/>
          <ac:picMkLst>
            <pc:docMk/>
            <pc:sldMk cId="3444943823" sldId="3448"/>
            <ac:picMk id="1028" creationId="{A9455819-BF18-8783-7DAF-E815AAD4B28C}"/>
          </ac:picMkLst>
        </pc:picChg>
      </pc:sldChg>
      <pc:sldChg chg="addSp delSp modSp new mod">
        <pc:chgData name="Elias Omondi" userId="5cf36897-38a5-4525-890a-89f27eb0c2d7" providerId="ADAL" clId="{724FCDBA-0E74-43ED-B392-B8D4276D1025}" dt="2022-08-23T11:10:04.579" v="370" actId="20577"/>
        <pc:sldMkLst>
          <pc:docMk/>
          <pc:sldMk cId="1945218816" sldId="3449"/>
        </pc:sldMkLst>
        <pc:spChg chg="mod">
          <ac:chgData name="Elias Omondi" userId="5cf36897-38a5-4525-890a-89f27eb0c2d7" providerId="ADAL" clId="{724FCDBA-0E74-43ED-B392-B8D4276D1025}" dt="2022-08-23T11:03:04.670" v="280" actId="255"/>
          <ac:spMkLst>
            <pc:docMk/>
            <pc:sldMk cId="1945218816" sldId="3449"/>
            <ac:spMk id="2" creationId="{5F49FB17-BBD1-DF9A-A9EA-527F9A1798A2}"/>
          </ac:spMkLst>
        </pc:spChg>
        <pc:spChg chg="del">
          <ac:chgData name="Elias Omondi" userId="5cf36897-38a5-4525-890a-89f27eb0c2d7" providerId="ADAL" clId="{724FCDBA-0E74-43ED-B392-B8D4276D1025}" dt="2022-08-23T10:59:27.704" v="248" actId="478"/>
          <ac:spMkLst>
            <pc:docMk/>
            <pc:sldMk cId="1945218816" sldId="3449"/>
            <ac:spMk id="3" creationId="{8EE4F5F6-3C90-8BD7-0B99-89FC220793F2}"/>
          </ac:spMkLst>
        </pc:spChg>
        <pc:graphicFrameChg chg="add mod modGraphic">
          <ac:chgData name="Elias Omondi" userId="5cf36897-38a5-4525-890a-89f27eb0c2d7" providerId="ADAL" clId="{724FCDBA-0E74-43ED-B392-B8D4276D1025}" dt="2022-08-23T11:10:04.579" v="370" actId="20577"/>
          <ac:graphicFrameMkLst>
            <pc:docMk/>
            <pc:sldMk cId="1945218816" sldId="3449"/>
            <ac:graphicFrameMk id="6" creationId="{6F2F1776-C162-07F7-3F61-2E480C9E70FD}"/>
          </ac:graphicFrameMkLst>
        </pc:graphicFrameChg>
      </pc:sldChg>
      <pc:sldChg chg="addSp delSp modSp new mod">
        <pc:chgData name="Elias Omondi" userId="5cf36897-38a5-4525-890a-89f27eb0c2d7" providerId="ADAL" clId="{724FCDBA-0E74-43ED-B392-B8D4276D1025}" dt="2022-08-23T11:17:15.342" v="386" actId="1076"/>
        <pc:sldMkLst>
          <pc:docMk/>
          <pc:sldMk cId="1817756986" sldId="3450"/>
        </pc:sldMkLst>
        <pc:spChg chg="mod">
          <ac:chgData name="Elias Omondi" userId="5cf36897-38a5-4525-890a-89f27eb0c2d7" providerId="ADAL" clId="{724FCDBA-0E74-43ED-B392-B8D4276D1025}" dt="2022-08-23T11:16:15.822" v="381"/>
          <ac:spMkLst>
            <pc:docMk/>
            <pc:sldMk cId="1817756986" sldId="3450"/>
            <ac:spMk id="2" creationId="{DFE921D4-EE98-1725-0F6E-369525EA6E7D}"/>
          </ac:spMkLst>
        </pc:spChg>
        <pc:spChg chg="del">
          <ac:chgData name="Elias Omondi" userId="5cf36897-38a5-4525-890a-89f27eb0c2d7" providerId="ADAL" clId="{724FCDBA-0E74-43ED-B392-B8D4276D1025}" dt="2022-08-23T11:13:32.494" v="377" actId="478"/>
          <ac:spMkLst>
            <pc:docMk/>
            <pc:sldMk cId="1817756986" sldId="3450"/>
            <ac:spMk id="3" creationId="{182A6626-501B-0D8E-AD74-B0DF6F0620E3}"/>
          </ac:spMkLst>
        </pc:spChg>
        <pc:picChg chg="add mod">
          <ac:chgData name="Elias Omondi" userId="5cf36897-38a5-4525-890a-89f27eb0c2d7" providerId="ADAL" clId="{724FCDBA-0E74-43ED-B392-B8D4276D1025}" dt="2022-08-23T11:17:15.342" v="386" actId="1076"/>
          <ac:picMkLst>
            <pc:docMk/>
            <pc:sldMk cId="1817756986" sldId="3450"/>
            <ac:picMk id="7" creationId="{0450933B-1F5A-31A3-311A-0E271A655EAE}"/>
          </ac:picMkLst>
        </pc:picChg>
      </pc:sldChg>
      <pc:sldChg chg="addSp delSp modSp new mod">
        <pc:chgData name="Elias Omondi" userId="5cf36897-38a5-4525-890a-89f27eb0c2d7" providerId="ADAL" clId="{724FCDBA-0E74-43ED-B392-B8D4276D1025}" dt="2022-08-23T11:19:44.440" v="396" actId="1076"/>
        <pc:sldMkLst>
          <pc:docMk/>
          <pc:sldMk cId="1024734935" sldId="3451"/>
        </pc:sldMkLst>
        <pc:spChg chg="mod">
          <ac:chgData name="Elias Omondi" userId="5cf36897-38a5-4525-890a-89f27eb0c2d7" providerId="ADAL" clId="{724FCDBA-0E74-43ED-B392-B8D4276D1025}" dt="2022-08-23T11:19:22.078" v="394" actId="1076"/>
          <ac:spMkLst>
            <pc:docMk/>
            <pc:sldMk cId="1024734935" sldId="3451"/>
            <ac:spMk id="2" creationId="{25E86163-F55F-C5B0-36E9-EC65DF6EA8D3}"/>
          </ac:spMkLst>
        </pc:spChg>
        <pc:spChg chg="del">
          <ac:chgData name="Elias Omondi" userId="5cf36897-38a5-4525-890a-89f27eb0c2d7" providerId="ADAL" clId="{724FCDBA-0E74-43ED-B392-B8D4276D1025}" dt="2022-08-23T11:18:31.114" v="389" actId="478"/>
          <ac:spMkLst>
            <pc:docMk/>
            <pc:sldMk cId="1024734935" sldId="3451"/>
            <ac:spMk id="3" creationId="{F93CF6D5-748E-3BDB-50C7-39BB923B39D8}"/>
          </ac:spMkLst>
        </pc:spChg>
        <pc:picChg chg="add mod">
          <ac:chgData name="Elias Omondi" userId="5cf36897-38a5-4525-890a-89f27eb0c2d7" providerId="ADAL" clId="{724FCDBA-0E74-43ED-B392-B8D4276D1025}" dt="2022-08-23T11:19:44.440" v="396" actId="1076"/>
          <ac:picMkLst>
            <pc:docMk/>
            <pc:sldMk cId="1024734935" sldId="3451"/>
            <ac:picMk id="7" creationId="{B68CA0AF-0D7F-6053-FEBB-DF9170DEEB33}"/>
          </ac:picMkLst>
        </pc:picChg>
      </pc:sldChg>
      <pc:sldChg chg="addSp delSp modSp new mod">
        <pc:chgData name="Elias Omondi" userId="5cf36897-38a5-4525-890a-89f27eb0c2d7" providerId="ADAL" clId="{724FCDBA-0E74-43ED-B392-B8D4276D1025}" dt="2022-08-23T11:26:12.223" v="430" actId="14100"/>
        <pc:sldMkLst>
          <pc:docMk/>
          <pc:sldMk cId="434701879" sldId="3452"/>
        </pc:sldMkLst>
        <pc:spChg chg="mod">
          <ac:chgData name="Elias Omondi" userId="5cf36897-38a5-4525-890a-89f27eb0c2d7" providerId="ADAL" clId="{724FCDBA-0E74-43ED-B392-B8D4276D1025}" dt="2022-08-23T11:25:41.424" v="424" actId="14100"/>
          <ac:spMkLst>
            <pc:docMk/>
            <pc:sldMk cId="434701879" sldId="3452"/>
            <ac:spMk id="2" creationId="{14F40C00-2981-BDFD-DB2F-275F6A73A164}"/>
          </ac:spMkLst>
        </pc:spChg>
        <pc:spChg chg="del">
          <ac:chgData name="Elias Omondi" userId="5cf36897-38a5-4525-890a-89f27eb0c2d7" providerId="ADAL" clId="{724FCDBA-0E74-43ED-B392-B8D4276D1025}" dt="2022-08-23T11:24:16.557" v="411" actId="478"/>
          <ac:spMkLst>
            <pc:docMk/>
            <pc:sldMk cId="434701879" sldId="3452"/>
            <ac:spMk id="3" creationId="{BEF8115F-6855-0A3C-9D4C-8888810DB4FC}"/>
          </ac:spMkLst>
        </pc:spChg>
        <pc:picChg chg="add mod">
          <ac:chgData name="Elias Omondi" userId="5cf36897-38a5-4525-890a-89f27eb0c2d7" providerId="ADAL" clId="{724FCDBA-0E74-43ED-B392-B8D4276D1025}" dt="2022-08-23T11:26:12.223" v="430" actId="14100"/>
          <ac:picMkLst>
            <pc:docMk/>
            <pc:sldMk cId="434701879" sldId="3452"/>
            <ac:picMk id="7" creationId="{0F9E6D3F-E277-9C81-2004-DF86F91B5DD9}"/>
          </ac:picMkLst>
        </pc:picChg>
      </pc:sldChg>
      <pc:sldChg chg="addSp delSp modSp add mod">
        <pc:chgData name="Elias Omondi" userId="5cf36897-38a5-4525-890a-89f27eb0c2d7" providerId="ADAL" clId="{724FCDBA-0E74-43ED-B392-B8D4276D1025}" dt="2022-08-23T11:27:17.337" v="442" actId="1076"/>
        <pc:sldMkLst>
          <pc:docMk/>
          <pc:sldMk cId="225128818" sldId="3453"/>
        </pc:sldMkLst>
        <pc:picChg chg="add mod">
          <ac:chgData name="Elias Omondi" userId="5cf36897-38a5-4525-890a-89f27eb0c2d7" providerId="ADAL" clId="{724FCDBA-0E74-43ED-B392-B8D4276D1025}" dt="2022-08-23T11:27:17.337" v="442" actId="1076"/>
          <ac:picMkLst>
            <pc:docMk/>
            <pc:sldMk cId="225128818" sldId="3453"/>
            <ac:picMk id="6" creationId="{7D7CB1BB-1EF1-665E-36FE-1ED2FA257A45}"/>
          </ac:picMkLst>
        </pc:picChg>
        <pc:picChg chg="del">
          <ac:chgData name="Elias Omondi" userId="5cf36897-38a5-4525-890a-89f27eb0c2d7" providerId="ADAL" clId="{724FCDBA-0E74-43ED-B392-B8D4276D1025}" dt="2022-08-23T11:26:48.175" v="432" actId="478"/>
          <ac:picMkLst>
            <pc:docMk/>
            <pc:sldMk cId="225128818" sldId="3453"/>
            <ac:picMk id="7" creationId="{0F9E6D3F-E277-9C81-2004-DF86F91B5DD9}"/>
          </ac:picMkLst>
        </pc:picChg>
      </pc:sldChg>
      <pc:sldChg chg="addSp delSp modSp add mod">
        <pc:chgData name="Elias Omondi" userId="5cf36897-38a5-4525-890a-89f27eb0c2d7" providerId="ADAL" clId="{724FCDBA-0E74-43ED-B392-B8D4276D1025}" dt="2022-08-23T11:28:22.798" v="450" actId="14100"/>
        <pc:sldMkLst>
          <pc:docMk/>
          <pc:sldMk cId="2716520777" sldId="3454"/>
        </pc:sldMkLst>
        <pc:picChg chg="del">
          <ac:chgData name="Elias Omondi" userId="5cf36897-38a5-4525-890a-89f27eb0c2d7" providerId="ADAL" clId="{724FCDBA-0E74-43ED-B392-B8D4276D1025}" dt="2022-08-23T11:28:10.894" v="444" actId="478"/>
          <ac:picMkLst>
            <pc:docMk/>
            <pc:sldMk cId="2716520777" sldId="3454"/>
            <ac:picMk id="6" creationId="{7D7CB1BB-1EF1-665E-36FE-1ED2FA257A45}"/>
          </ac:picMkLst>
        </pc:picChg>
        <pc:picChg chg="add mod">
          <ac:chgData name="Elias Omondi" userId="5cf36897-38a5-4525-890a-89f27eb0c2d7" providerId="ADAL" clId="{724FCDBA-0E74-43ED-B392-B8D4276D1025}" dt="2022-08-23T11:28:22.798" v="450" actId="14100"/>
          <ac:picMkLst>
            <pc:docMk/>
            <pc:sldMk cId="2716520777" sldId="3454"/>
            <ac:picMk id="7" creationId="{35A20912-3A05-F025-DB1B-16F7247782B7}"/>
          </ac:picMkLst>
        </pc:picChg>
      </pc:sldChg>
      <pc:sldChg chg="addSp delSp modSp new mod">
        <pc:chgData name="Elias Omondi" userId="5cf36897-38a5-4525-890a-89f27eb0c2d7" providerId="ADAL" clId="{724FCDBA-0E74-43ED-B392-B8D4276D1025}" dt="2022-08-26T04:50:30.749" v="478" actId="1076"/>
        <pc:sldMkLst>
          <pc:docMk/>
          <pc:sldMk cId="2823257971" sldId="3455"/>
        </pc:sldMkLst>
        <pc:spChg chg="mod">
          <ac:chgData name="Elias Omondi" userId="5cf36897-38a5-4525-890a-89f27eb0c2d7" providerId="ADAL" clId="{724FCDBA-0E74-43ED-B392-B8D4276D1025}" dt="2022-08-26T04:48:52.540" v="472" actId="113"/>
          <ac:spMkLst>
            <pc:docMk/>
            <pc:sldMk cId="2823257971" sldId="3455"/>
            <ac:spMk id="2" creationId="{062363E9-7D08-5D3B-BD84-3454C988C3AA}"/>
          </ac:spMkLst>
        </pc:spChg>
        <pc:spChg chg="del">
          <ac:chgData name="Elias Omondi" userId="5cf36897-38a5-4525-890a-89f27eb0c2d7" providerId="ADAL" clId="{724FCDBA-0E74-43ED-B392-B8D4276D1025}" dt="2022-08-26T04:48:46.421" v="471" actId="478"/>
          <ac:spMkLst>
            <pc:docMk/>
            <pc:sldMk cId="2823257971" sldId="3455"/>
            <ac:spMk id="3" creationId="{4634F0C8-7E62-F1A2-D45B-78B4A9173468}"/>
          </ac:spMkLst>
        </pc:spChg>
        <pc:picChg chg="add mod">
          <ac:chgData name="Elias Omondi" userId="5cf36897-38a5-4525-890a-89f27eb0c2d7" providerId="ADAL" clId="{724FCDBA-0E74-43ED-B392-B8D4276D1025}" dt="2022-08-26T04:50:30.749" v="478" actId="1076"/>
          <ac:picMkLst>
            <pc:docMk/>
            <pc:sldMk cId="2823257971" sldId="3455"/>
            <ac:picMk id="7" creationId="{F03C4B87-F8BA-DE42-6F63-B92F2433229E}"/>
          </ac:picMkLst>
        </pc:picChg>
      </pc:sldChg>
      <pc:sldChg chg="addSp delSp modSp new mod">
        <pc:chgData name="Elias Omondi" userId="5cf36897-38a5-4525-890a-89f27eb0c2d7" providerId="ADAL" clId="{724FCDBA-0E74-43ED-B392-B8D4276D1025}" dt="2022-08-26T04:58:07.697" v="568" actId="20577"/>
        <pc:sldMkLst>
          <pc:docMk/>
          <pc:sldMk cId="4066678974" sldId="3456"/>
        </pc:sldMkLst>
        <pc:spChg chg="mod">
          <ac:chgData name="Elias Omondi" userId="5cf36897-38a5-4525-890a-89f27eb0c2d7" providerId="ADAL" clId="{724FCDBA-0E74-43ED-B392-B8D4276D1025}" dt="2022-08-26T04:53:03.344" v="509" actId="113"/>
          <ac:spMkLst>
            <pc:docMk/>
            <pc:sldMk cId="4066678974" sldId="3456"/>
            <ac:spMk id="2" creationId="{F1749188-001D-EE8C-8389-A1B255C1D111}"/>
          </ac:spMkLst>
        </pc:spChg>
        <pc:spChg chg="del">
          <ac:chgData name="Elias Omondi" userId="5cf36897-38a5-4525-890a-89f27eb0c2d7" providerId="ADAL" clId="{724FCDBA-0E74-43ED-B392-B8D4276D1025}" dt="2022-08-26T04:50:59.066" v="481" actId="478"/>
          <ac:spMkLst>
            <pc:docMk/>
            <pc:sldMk cId="4066678974" sldId="3456"/>
            <ac:spMk id="3" creationId="{C57D13CF-C031-2CED-22C2-EE2F3AD476FF}"/>
          </ac:spMkLst>
        </pc:spChg>
        <pc:spChg chg="add mod">
          <ac:chgData name="Elias Omondi" userId="5cf36897-38a5-4525-890a-89f27eb0c2d7" providerId="ADAL" clId="{724FCDBA-0E74-43ED-B392-B8D4276D1025}" dt="2022-08-26T04:58:07.697" v="568" actId="20577"/>
          <ac:spMkLst>
            <pc:docMk/>
            <pc:sldMk cId="4066678974" sldId="3456"/>
            <ac:spMk id="7" creationId="{F8B599E8-4C2C-7430-6001-08B4EDA24021}"/>
          </ac:spMkLst>
        </pc:spChg>
        <pc:spChg chg="add mod">
          <ac:chgData name="Elias Omondi" userId="5cf36897-38a5-4525-890a-89f27eb0c2d7" providerId="ADAL" clId="{724FCDBA-0E74-43ED-B392-B8D4276D1025}" dt="2022-08-26T04:54:07.296" v="542" actId="20577"/>
          <ac:spMkLst>
            <pc:docMk/>
            <pc:sldMk cId="4066678974" sldId="3456"/>
            <ac:spMk id="8" creationId="{17D870EB-8ACD-0015-7456-AAC3AA0E51E7}"/>
          </ac:spMkLst>
        </pc:spChg>
        <pc:spChg chg="add mod">
          <ac:chgData name="Elias Omondi" userId="5cf36897-38a5-4525-890a-89f27eb0c2d7" providerId="ADAL" clId="{724FCDBA-0E74-43ED-B392-B8D4276D1025}" dt="2022-08-26T04:57:45.968" v="557" actId="113"/>
          <ac:spMkLst>
            <pc:docMk/>
            <pc:sldMk cId="4066678974" sldId="3456"/>
            <ac:spMk id="9" creationId="{6F56AF11-2901-AC6D-1023-B7D38EF441A6}"/>
          </ac:spMkLst>
        </pc:spChg>
      </pc:sldChg>
      <pc:sldChg chg="modSp add mod">
        <pc:chgData name="Elias Omondi" userId="5cf36897-38a5-4525-890a-89f27eb0c2d7" providerId="ADAL" clId="{724FCDBA-0E74-43ED-B392-B8D4276D1025}" dt="2022-08-26T05:03:33.558" v="601" actId="11"/>
        <pc:sldMkLst>
          <pc:docMk/>
          <pc:sldMk cId="1332867480" sldId="3457"/>
        </pc:sldMkLst>
        <pc:spChg chg="mod">
          <ac:chgData name="Elias Omondi" userId="5cf36897-38a5-4525-890a-89f27eb0c2d7" providerId="ADAL" clId="{724FCDBA-0E74-43ED-B392-B8D4276D1025}" dt="2022-08-26T04:59:07.751" v="570"/>
          <ac:spMkLst>
            <pc:docMk/>
            <pc:sldMk cId="1332867480" sldId="3457"/>
            <ac:spMk id="2" creationId="{F1749188-001D-EE8C-8389-A1B255C1D111}"/>
          </ac:spMkLst>
        </pc:spChg>
        <pc:spChg chg="mod">
          <ac:chgData name="Elias Omondi" userId="5cf36897-38a5-4525-890a-89f27eb0c2d7" providerId="ADAL" clId="{724FCDBA-0E74-43ED-B392-B8D4276D1025}" dt="2022-08-26T05:01:09.631" v="582" actId="20577"/>
          <ac:spMkLst>
            <pc:docMk/>
            <pc:sldMk cId="1332867480" sldId="3457"/>
            <ac:spMk id="7" creationId="{F8B599E8-4C2C-7430-6001-08B4EDA24021}"/>
          </ac:spMkLst>
        </pc:spChg>
        <pc:spChg chg="mod">
          <ac:chgData name="Elias Omondi" userId="5cf36897-38a5-4525-890a-89f27eb0c2d7" providerId="ADAL" clId="{724FCDBA-0E74-43ED-B392-B8D4276D1025}" dt="2022-08-26T05:01:32.763" v="584" actId="1076"/>
          <ac:spMkLst>
            <pc:docMk/>
            <pc:sldMk cId="1332867480" sldId="3457"/>
            <ac:spMk id="8" creationId="{17D870EB-8ACD-0015-7456-AAC3AA0E51E7}"/>
          </ac:spMkLst>
        </pc:spChg>
        <pc:spChg chg="mod">
          <ac:chgData name="Elias Omondi" userId="5cf36897-38a5-4525-890a-89f27eb0c2d7" providerId="ADAL" clId="{724FCDBA-0E74-43ED-B392-B8D4276D1025}" dt="2022-08-26T05:03:33.558" v="601" actId="11"/>
          <ac:spMkLst>
            <pc:docMk/>
            <pc:sldMk cId="1332867480" sldId="3457"/>
            <ac:spMk id="9" creationId="{6F56AF11-2901-AC6D-1023-B7D38EF441A6}"/>
          </ac:spMkLst>
        </pc:spChg>
      </pc:sldChg>
      <pc:sldChg chg="modSp add mod">
        <pc:chgData name="Elias Omondi" userId="5cf36897-38a5-4525-890a-89f27eb0c2d7" providerId="ADAL" clId="{724FCDBA-0E74-43ED-B392-B8D4276D1025}" dt="2022-08-26T05:04:45.351" v="614" actId="20577"/>
        <pc:sldMkLst>
          <pc:docMk/>
          <pc:sldMk cId="3243134396" sldId="3458"/>
        </pc:sldMkLst>
        <pc:spChg chg="mod">
          <ac:chgData name="Elias Omondi" userId="5cf36897-38a5-4525-890a-89f27eb0c2d7" providerId="ADAL" clId="{724FCDBA-0E74-43ED-B392-B8D4276D1025}" dt="2022-08-26T05:04:10.039" v="603"/>
          <ac:spMkLst>
            <pc:docMk/>
            <pc:sldMk cId="3243134396" sldId="3458"/>
            <ac:spMk id="8" creationId="{17D870EB-8ACD-0015-7456-AAC3AA0E51E7}"/>
          </ac:spMkLst>
        </pc:spChg>
        <pc:spChg chg="mod">
          <ac:chgData name="Elias Omondi" userId="5cf36897-38a5-4525-890a-89f27eb0c2d7" providerId="ADAL" clId="{724FCDBA-0E74-43ED-B392-B8D4276D1025}" dt="2022-08-26T05:04:45.351" v="614" actId="20577"/>
          <ac:spMkLst>
            <pc:docMk/>
            <pc:sldMk cId="3243134396" sldId="3458"/>
            <ac:spMk id="9" creationId="{6F56AF11-2901-AC6D-1023-B7D38EF441A6}"/>
          </ac:spMkLst>
        </pc:spChg>
      </pc:sldChg>
      <pc:sldMasterChg chg="delSldLayout">
        <pc:chgData name="Elias Omondi" userId="5cf36897-38a5-4525-890a-89f27eb0c2d7" providerId="ADAL" clId="{724FCDBA-0E74-43ED-B392-B8D4276D1025}" dt="2022-08-26T04:46:11.532" v="459" actId="2696"/>
        <pc:sldMasterMkLst>
          <pc:docMk/>
          <pc:sldMasterMk cId="2691482550" sldId="2147483755"/>
        </pc:sldMasterMkLst>
        <pc:sldLayoutChg chg="del">
          <pc:chgData name="Elias Omondi" userId="5cf36897-38a5-4525-890a-89f27eb0c2d7" providerId="ADAL" clId="{724FCDBA-0E74-43ED-B392-B8D4276D1025}" dt="2022-08-26T04:46:11.532" v="459" actId="2696"/>
          <pc:sldLayoutMkLst>
            <pc:docMk/>
            <pc:sldMasterMk cId="2691482550" sldId="2147483755"/>
            <pc:sldLayoutMk cId="2451364716" sldId="2147483767"/>
          </pc:sldLayoutMkLst>
        </pc:sldLayoutChg>
      </pc:sldMasterChg>
    </pc:docChg>
  </pc:docChgLst>
  <pc:docChgLst>
    <pc:chgData name="Elias Omondi" userId="5cf36897-38a5-4525-890a-89f27eb0c2d7" providerId="ADAL" clId="{6271EF1A-C00B-48D9-8B1F-8CF74004411B}"/>
    <pc:docChg chg="undo custSel addSld delSld modSld sldOrd">
      <pc:chgData name="Elias Omondi" userId="5cf36897-38a5-4525-890a-89f27eb0c2d7" providerId="ADAL" clId="{6271EF1A-C00B-48D9-8B1F-8CF74004411B}" dt="2023-03-14T20:49:21.582" v="317" actId="207"/>
      <pc:docMkLst>
        <pc:docMk/>
      </pc:docMkLst>
      <pc:sldChg chg="modSp mod">
        <pc:chgData name="Elias Omondi" userId="5cf36897-38a5-4525-890a-89f27eb0c2d7" providerId="ADAL" clId="{6271EF1A-C00B-48D9-8B1F-8CF74004411B}" dt="2023-03-14T19:23:56.421" v="12" actId="20577"/>
        <pc:sldMkLst>
          <pc:docMk/>
          <pc:sldMk cId="1248452719" sldId="259"/>
        </pc:sldMkLst>
        <pc:spChg chg="mod">
          <ac:chgData name="Elias Omondi" userId="5cf36897-38a5-4525-890a-89f27eb0c2d7" providerId="ADAL" clId="{6271EF1A-C00B-48D9-8B1F-8CF74004411B}" dt="2023-03-14T19:23:56.421" v="12" actId="20577"/>
          <ac:spMkLst>
            <pc:docMk/>
            <pc:sldMk cId="1248452719" sldId="259"/>
            <ac:spMk id="12" creationId="{B4ECF82A-2431-AC42-8C8D-AFD65286EF6B}"/>
          </ac:spMkLst>
        </pc:spChg>
      </pc:sldChg>
      <pc:sldChg chg="del">
        <pc:chgData name="Elias Omondi" userId="5cf36897-38a5-4525-890a-89f27eb0c2d7" providerId="ADAL" clId="{6271EF1A-C00B-48D9-8B1F-8CF74004411B}" dt="2023-03-14T20:33:06.222" v="244" actId="2696"/>
        <pc:sldMkLst>
          <pc:docMk/>
          <pc:sldMk cId="0" sldId="275"/>
        </pc:sldMkLst>
      </pc:sldChg>
      <pc:sldChg chg="addSp delSp modSp mod">
        <pc:chgData name="Elias Omondi" userId="5cf36897-38a5-4525-890a-89f27eb0c2d7" providerId="ADAL" clId="{6271EF1A-C00B-48D9-8B1F-8CF74004411B}" dt="2023-03-14T20:49:21.582" v="317" actId="207"/>
        <pc:sldMkLst>
          <pc:docMk/>
          <pc:sldMk cId="244331174" sldId="280"/>
        </pc:sldMkLst>
        <pc:spChg chg="mod">
          <ac:chgData name="Elias Omondi" userId="5cf36897-38a5-4525-890a-89f27eb0c2d7" providerId="ADAL" clId="{6271EF1A-C00B-48D9-8B1F-8CF74004411B}" dt="2023-03-14T20:49:21.582" v="317" actId="207"/>
          <ac:spMkLst>
            <pc:docMk/>
            <pc:sldMk cId="244331174" sldId="280"/>
            <ac:spMk id="6" creationId="{00000000-0000-0000-0000-000000000000}"/>
          </ac:spMkLst>
        </pc:spChg>
        <pc:picChg chg="del">
          <ac:chgData name="Elias Omondi" userId="5cf36897-38a5-4525-890a-89f27eb0c2d7" providerId="ADAL" clId="{6271EF1A-C00B-48D9-8B1F-8CF74004411B}" dt="2023-03-14T19:18:44.086" v="0" actId="478"/>
          <ac:picMkLst>
            <pc:docMk/>
            <pc:sldMk cId="244331174" sldId="280"/>
            <ac:picMk id="9" creationId="{C64936DF-64BE-FA27-3373-A24E3F4929D7}"/>
          </ac:picMkLst>
        </pc:picChg>
        <pc:picChg chg="add mod">
          <ac:chgData name="Elias Omondi" userId="5cf36897-38a5-4525-890a-89f27eb0c2d7" providerId="ADAL" clId="{6271EF1A-C00B-48D9-8B1F-8CF74004411B}" dt="2023-03-14T20:46:53.896" v="265" actId="1076"/>
          <ac:picMkLst>
            <pc:docMk/>
            <pc:sldMk cId="244331174" sldId="280"/>
            <ac:picMk id="21" creationId="{B22F0528-7B98-D2C6-3EDC-F26A0253CC7B}"/>
          </ac:picMkLst>
        </pc:picChg>
      </pc:sldChg>
      <pc:sldChg chg="del">
        <pc:chgData name="Elias Omondi" userId="5cf36897-38a5-4525-890a-89f27eb0c2d7" providerId="ADAL" clId="{6271EF1A-C00B-48D9-8B1F-8CF74004411B}" dt="2023-03-14T19:24:12.285" v="13" actId="2696"/>
        <pc:sldMkLst>
          <pc:docMk/>
          <pc:sldMk cId="1882172718" sldId="1048"/>
        </pc:sldMkLst>
      </pc:sldChg>
      <pc:sldChg chg="delSp modSp del mod">
        <pc:chgData name="Elias Omondi" userId="5cf36897-38a5-4525-890a-89f27eb0c2d7" providerId="ADAL" clId="{6271EF1A-C00B-48D9-8B1F-8CF74004411B}" dt="2023-03-14T19:47:50.161" v="68" actId="47"/>
        <pc:sldMkLst>
          <pc:docMk/>
          <pc:sldMk cId="3723639641" sldId="1282"/>
        </pc:sldMkLst>
        <pc:spChg chg="mod">
          <ac:chgData name="Elias Omondi" userId="5cf36897-38a5-4525-890a-89f27eb0c2d7" providerId="ADAL" clId="{6271EF1A-C00B-48D9-8B1F-8CF74004411B}" dt="2023-03-14T19:46:19.266" v="46" actId="14100"/>
          <ac:spMkLst>
            <pc:docMk/>
            <pc:sldMk cId="3723639641" sldId="1282"/>
            <ac:spMk id="23" creationId="{69FD12D1-1CF9-1140-A74A-9F0207BABF3E}"/>
          </ac:spMkLst>
        </pc:spChg>
        <pc:grpChg chg="del">
          <ac:chgData name="Elias Omondi" userId="5cf36897-38a5-4525-890a-89f27eb0c2d7" providerId="ADAL" clId="{6271EF1A-C00B-48D9-8B1F-8CF74004411B}" dt="2023-03-14T19:46:12.351" v="45" actId="478"/>
          <ac:grpSpMkLst>
            <pc:docMk/>
            <pc:sldMk cId="3723639641" sldId="1282"/>
            <ac:grpSpMk id="11" creationId="{4DE39729-5556-4962-8061-66B418A5BCD4}"/>
          </ac:grpSpMkLst>
        </pc:grpChg>
      </pc:sldChg>
      <pc:sldChg chg="modSp mod">
        <pc:chgData name="Elias Omondi" userId="5cf36897-38a5-4525-890a-89f27eb0c2d7" providerId="ADAL" clId="{6271EF1A-C00B-48D9-8B1F-8CF74004411B}" dt="2023-03-14T19:24:23.717" v="18" actId="20577"/>
        <pc:sldMkLst>
          <pc:docMk/>
          <pc:sldMk cId="45365290" sldId="1300"/>
        </pc:sldMkLst>
        <pc:spChg chg="mod">
          <ac:chgData name="Elias Omondi" userId="5cf36897-38a5-4525-890a-89f27eb0c2d7" providerId="ADAL" clId="{6271EF1A-C00B-48D9-8B1F-8CF74004411B}" dt="2023-03-14T19:24:23.717" v="18" actId="20577"/>
          <ac:spMkLst>
            <pc:docMk/>
            <pc:sldMk cId="45365290" sldId="1300"/>
            <ac:spMk id="3" creationId="{EB0B711B-011B-3346-8457-39F5877F3632}"/>
          </ac:spMkLst>
        </pc:spChg>
      </pc:sldChg>
      <pc:sldChg chg="del">
        <pc:chgData name="Elias Omondi" userId="5cf36897-38a5-4525-890a-89f27eb0c2d7" providerId="ADAL" clId="{6271EF1A-C00B-48D9-8B1F-8CF74004411B}" dt="2023-03-14T19:24:39.838" v="20" actId="2696"/>
        <pc:sldMkLst>
          <pc:docMk/>
          <pc:sldMk cId="3444943823" sldId="3448"/>
        </pc:sldMkLst>
      </pc:sldChg>
      <pc:sldChg chg="del">
        <pc:chgData name="Elias Omondi" userId="5cf36897-38a5-4525-890a-89f27eb0c2d7" providerId="ADAL" clId="{6271EF1A-C00B-48D9-8B1F-8CF74004411B}" dt="2023-03-14T19:24:49.992" v="22" actId="2696"/>
        <pc:sldMkLst>
          <pc:docMk/>
          <pc:sldMk cId="1945218816" sldId="3449"/>
        </pc:sldMkLst>
      </pc:sldChg>
      <pc:sldChg chg="del">
        <pc:chgData name="Elias Omondi" userId="5cf36897-38a5-4525-890a-89f27eb0c2d7" providerId="ADAL" clId="{6271EF1A-C00B-48D9-8B1F-8CF74004411B}" dt="2023-03-14T19:24:54.697" v="23" actId="2696"/>
        <pc:sldMkLst>
          <pc:docMk/>
          <pc:sldMk cId="1817756986" sldId="3450"/>
        </pc:sldMkLst>
      </pc:sldChg>
      <pc:sldChg chg="delSp modSp new del mod">
        <pc:chgData name="Elias Omondi" userId="5cf36897-38a5-4525-890a-89f27eb0c2d7" providerId="ADAL" clId="{6271EF1A-C00B-48D9-8B1F-8CF74004411B}" dt="2023-03-14T20:05:14.763" v="158" actId="2696"/>
        <pc:sldMkLst>
          <pc:docMk/>
          <pc:sldMk cId="764370725" sldId="3459"/>
        </pc:sldMkLst>
        <pc:spChg chg="del">
          <ac:chgData name="Elias Omondi" userId="5cf36897-38a5-4525-890a-89f27eb0c2d7" providerId="ADAL" clId="{6271EF1A-C00B-48D9-8B1F-8CF74004411B}" dt="2023-03-14T19:37:04.777" v="25" actId="478"/>
          <ac:spMkLst>
            <pc:docMk/>
            <pc:sldMk cId="764370725" sldId="3459"/>
            <ac:spMk id="3" creationId="{257A7177-D255-C17E-C6D1-42CBA213B755}"/>
          </ac:spMkLst>
        </pc:spChg>
        <pc:spChg chg="mod">
          <ac:chgData name="Elias Omondi" userId="5cf36897-38a5-4525-890a-89f27eb0c2d7" providerId="ADAL" clId="{6271EF1A-C00B-48D9-8B1F-8CF74004411B}" dt="2023-03-14T19:37:09.476" v="26" actId="1076"/>
          <ac:spMkLst>
            <pc:docMk/>
            <pc:sldMk cId="764370725" sldId="3459"/>
            <ac:spMk id="4" creationId="{C04891EF-ECBA-3906-88BE-C363978F64FC}"/>
          </ac:spMkLst>
        </pc:spChg>
      </pc:sldChg>
      <pc:sldChg chg="add del">
        <pc:chgData name="Elias Omondi" userId="5cf36897-38a5-4525-890a-89f27eb0c2d7" providerId="ADAL" clId="{6271EF1A-C00B-48D9-8B1F-8CF74004411B}" dt="2023-03-14T19:24:44.252" v="21" actId="2696"/>
        <pc:sldMkLst>
          <pc:docMk/>
          <pc:sldMk cId="2594959693" sldId="3459"/>
        </pc:sldMkLst>
      </pc:sldChg>
      <pc:sldChg chg="new del">
        <pc:chgData name="Elias Omondi" userId="5cf36897-38a5-4525-890a-89f27eb0c2d7" providerId="ADAL" clId="{6271EF1A-C00B-48D9-8B1F-8CF74004411B}" dt="2023-03-14T20:05:19.167" v="159" actId="2696"/>
        <pc:sldMkLst>
          <pc:docMk/>
          <pc:sldMk cId="3816776010" sldId="3460"/>
        </pc:sldMkLst>
      </pc:sldChg>
      <pc:sldChg chg="addSp delSp modSp new mod">
        <pc:chgData name="Elias Omondi" userId="5cf36897-38a5-4525-890a-89f27eb0c2d7" providerId="ADAL" clId="{6271EF1A-C00B-48D9-8B1F-8CF74004411B}" dt="2023-03-14T19:48:54.776" v="71" actId="27636"/>
        <pc:sldMkLst>
          <pc:docMk/>
          <pc:sldMk cId="380280719" sldId="3461"/>
        </pc:sldMkLst>
        <pc:spChg chg="del">
          <ac:chgData name="Elias Omondi" userId="5cf36897-38a5-4525-890a-89f27eb0c2d7" providerId="ADAL" clId="{6271EF1A-C00B-48D9-8B1F-8CF74004411B}" dt="2023-03-14T19:38:45.192" v="29" actId="22"/>
          <ac:spMkLst>
            <pc:docMk/>
            <pc:sldMk cId="380280719" sldId="3461"/>
            <ac:spMk id="2" creationId="{41179AAB-3793-0247-B146-9A131E8300FD}"/>
          </ac:spMkLst>
        </pc:spChg>
        <pc:spChg chg="mod">
          <ac:chgData name="Elias Omondi" userId="5cf36897-38a5-4525-890a-89f27eb0c2d7" providerId="ADAL" clId="{6271EF1A-C00B-48D9-8B1F-8CF74004411B}" dt="2023-03-14T19:39:05.028" v="31"/>
          <ac:spMkLst>
            <pc:docMk/>
            <pc:sldMk cId="380280719" sldId="3461"/>
            <ac:spMk id="3" creationId="{44BDE2EB-2FE3-B0B5-45A6-7F0A4C97D6EA}"/>
          </ac:spMkLst>
        </pc:spChg>
        <pc:spChg chg="mod">
          <ac:chgData name="Elias Omondi" userId="5cf36897-38a5-4525-890a-89f27eb0c2d7" providerId="ADAL" clId="{6271EF1A-C00B-48D9-8B1F-8CF74004411B}" dt="2023-03-14T19:48:54.776" v="71" actId="27636"/>
          <ac:spMkLst>
            <pc:docMk/>
            <pc:sldMk cId="380280719" sldId="3461"/>
            <ac:spMk id="6" creationId="{8CF6806A-BC03-1FC2-347A-1D003C38259D}"/>
          </ac:spMkLst>
        </pc:spChg>
        <pc:spChg chg="del">
          <ac:chgData name="Elias Omondi" userId="5cf36897-38a5-4525-890a-89f27eb0c2d7" providerId="ADAL" clId="{6271EF1A-C00B-48D9-8B1F-8CF74004411B}" dt="2023-03-14T19:38:54.966" v="30" actId="478"/>
          <ac:spMkLst>
            <pc:docMk/>
            <pc:sldMk cId="380280719" sldId="3461"/>
            <ac:spMk id="7" creationId="{2FA48012-772E-46DC-EF73-F566256B347C}"/>
          </ac:spMkLst>
        </pc:spChg>
        <pc:picChg chg="add mod ord modCrop">
          <ac:chgData name="Elias Omondi" userId="5cf36897-38a5-4525-890a-89f27eb0c2d7" providerId="ADAL" clId="{6271EF1A-C00B-48D9-8B1F-8CF74004411B}" dt="2023-03-14T19:38:45.192" v="29" actId="22"/>
          <ac:picMkLst>
            <pc:docMk/>
            <pc:sldMk cId="380280719" sldId="3461"/>
            <ac:picMk id="10" creationId="{1DA548D7-1F7E-AB51-7ABC-CFDE98063A8A}"/>
          </ac:picMkLst>
        </pc:picChg>
      </pc:sldChg>
      <pc:sldChg chg="delSp modSp new del mod">
        <pc:chgData name="Elias Omondi" userId="5cf36897-38a5-4525-890a-89f27eb0c2d7" providerId="ADAL" clId="{6271EF1A-C00B-48D9-8B1F-8CF74004411B}" dt="2023-03-14T19:47:57.392" v="69" actId="2696"/>
        <pc:sldMkLst>
          <pc:docMk/>
          <pc:sldMk cId="949171134" sldId="3462"/>
        </pc:sldMkLst>
        <pc:spChg chg="del">
          <ac:chgData name="Elias Omondi" userId="5cf36897-38a5-4525-890a-89f27eb0c2d7" providerId="ADAL" clId="{6271EF1A-C00B-48D9-8B1F-8CF74004411B}" dt="2023-03-14T19:45:16.794" v="38" actId="478"/>
          <ac:spMkLst>
            <pc:docMk/>
            <pc:sldMk cId="949171134" sldId="3462"/>
            <ac:spMk id="2" creationId="{FB59CCF9-7BCA-AC73-DED2-D1042798D7C5}"/>
          </ac:spMkLst>
        </pc:spChg>
        <pc:spChg chg="mod">
          <ac:chgData name="Elias Omondi" userId="5cf36897-38a5-4525-890a-89f27eb0c2d7" providerId="ADAL" clId="{6271EF1A-C00B-48D9-8B1F-8CF74004411B}" dt="2023-03-14T19:45:08.790" v="37"/>
          <ac:spMkLst>
            <pc:docMk/>
            <pc:sldMk cId="949171134" sldId="3462"/>
            <ac:spMk id="3" creationId="{59BDE0C8-B9B9-EA90-A0E3-F5EB42CBE026}"/>
          </ac:spMkLst>
        </pc:spChg>
        <pc:spChg chg="mod">
          <ac:chgData name="Elias Omondi" userId="5cf36897-38a5-4525-890a-89f27eb0c2d7" providerId="ADAL" clId="{6271EF1A-C00B-48D9-8B1F-8CF74004411B}" dt="2023-03-14T19:45:32.221" v="42" actId="20577"/>
          <ac:spMkLst>
            <pc:docMk/>
            <pc:sldMk cId="949171134" sldId="3462"/>
            <ac:spMk id="4" creationId="{01495E3C-6821-6B5C-8337-6E27066CB053}"/>
          </ac:spMkLst>
        </pc:spChg>
        <pc:spChg chg="del">
          <ac:chgData name="Elias Omondi" userId="5cf36897-38a5-4525-890a-89f27eb0c2d7" providerId="ADAL" clId="{6271EF1A-C00B-48D9-8B1F-8CF74004411B}" dt="2023-03-14T19:45:40.641" v="43" actId="478"/>
          <ac:spMkLst>
            <pc:docMk/>
            <pc:sldMk cId="949171134" sldId="3462"/>
            <ac:spMk id="7" creationId="{87D46341-9D44-2B5B-409F-A666C1186D9D}"/>
          </ac:spMkLst>
        </pc:spChg>
        <pc:spChg chg="del">
          <ac:chgData name="Elias Omondi" userId="5cf36897-38a5-4525-890a-89f27eb0c2d7" providerId="ADAL" clId="{6271EF1A-C00B-48D9-8B1F-8CF74004411B}" dt="2023-03-14T19:45:20.890" v="39" actId="478"/>
          <ac:spMkLst>
            <pc:docMk/>
            <pc:sldMk cId="949171134" sldId="3462"/>
            <ac:spMk id="8" creationId="{E2A92BCE-4A24-8438-91E3-6D81CBCB9449}"/>
          </ac:spMkLst>
        </pc:spChg>
      </pc:sldChg>
      <pc:sldChg chg="new del">
        <pc:chgData name="Elias Omondi" userId="5cf36897-38a5-4525-890a-89f27eb0c2d7" providerId="ADAL" clId="{6271EF1A-C00B-48D9-8B1F-8CF74004411B}" dt="2023-03-14T19:42:52.900" v="35" actId="680"/>
        <pc:sldMkLst>
          <pc:docMk/>
          <pc:sldMk cId="1291267654" sldId="3462"/>
        </pc:sldMkLst>
      </pc:sldChg>
      <pc:sldChg chg="new del">
        <pc:chgData name="Elias Omondi" userId="5cf36897-38a5-4525-890a-89f27eb0c2d7" providerId="ADAL" clId="{6271EF1A-C00B-48D9-8B1F-8CF74004411B}" dt="2023-03-14T19:39:29.451" v="33" actId="680"/>
        <pc:sldMkLst>
          <pc:docMk/>
          <pc:sldMk cId="1589462406" sldId="3462"/>
        </pc:sldMkLst>
      </pc:sldChg>
      <pc:sldChg chg="delSp modSp new mod ord">
        <pc:chgData name="Elias Omondi" userId="5cf36897-38a5-4525-890a-89f27eb0c2d7" providerId="ADAL" clId="{6271EF1A-C00B-48D9-8B1F-8CF74004411B}" dt="2023-03-14T19:48:54.764" v="70" actId="27636"/>
        <pc:sldMkLst>
          <pc:docMk/>
          <pc:sldMk cId="347107641" sldId="3463"/>
        </pc:sldMkLst>
        <pc:spChg chg="mod">
          <ac:chgData name="Elias Omondi" userId="5cf36897-38a5-4525-890a-89f27eb0c2d7" providerId="ADAL" clId="{6271EF1A-C00B-48D9-8B1F-8CF74004411B}" dt="2023-03-14T19:47:30.867" v="61" actId="14100"/>
          <ac:spMkLst>
            <pc:docMk/>
            <pc:sldMk cId="347107641" sldId="3463"/>
            <ac:spMk id="2" creationId="{A1D9899C-C200-0932-F8C3-91B85EE616A8}"/>
          </ac:spMkLst>
        </pc:spChg>
        <pc:spChg chg="mod">
          <ac:chgData name="Elias Omondi" userId="5cf36897-38a5-4525-890a-89f27eb0c2d7" providerId="ADAL" clId="{6271EF1A-C00B-48D9-8B1F-8CF74004411B}" dt="2023-03-14T19:48:54.764" v="70" actId="27636"/>
          <ac:spMkLst>
            <pc:docMk/>
            <pc:sldMk cId="347107641" sldId="3463"/>
            <ac:spMk id="5" creationId="{C0A4D178-FD36-E378-42AE-2BB8D569BE46}"/>
          </ac:spMkLst>
        </pc:spChg>
        <pc:spChg chg="mod">
          <ac:chgData name="Elias Omondi" userId="5cf36897-38a5-4525-890a-89f27eb0c2d7" providerId="ADAL" clId="{6271EF1A-C00B-48D9-8B1F-8CF74004411B}" dt="2023-03-14T19:47:39.236" v="65" actId="27636"/>
          <ac:spMkLst>
            <pc:docMk/>
            <pc:sldMk cId="347107641" sldId="3463"/>
            <ac:spMk id="6" creationId="{6291E508-DF8C-2B61-7F6A-AE3A48ADDD83}"/>
          </ac:spMkLst>
        </pc:spChg>
        <pc:spChg chg="del">
          <ac:chgData name="Elias Omondi" userId="5cf36897-38a5-4525-890a-89f27eb0c2d7" providerId="ADAL" clId="{6271EF1A-C00B-48D9-8B1F-8CF74004411B}" dt="2023-03-14T19:46:47.282" v="51" actId="478"/>
          <ac:spMkLst>
            <pc:docMk/>
            <pc:sldMk cId="347107641" sldId="3463"/>
            <ac:spMk id="7" creationId="{27534E34-82EF-0F77-ECF6-DBF00FAF4C05}"/>
          </ac:spMkLst>
        </pc:spChg>
        <pc:spChg chg="del">
          <ac:chgData name="Elias Omondi" userId="5cf36897-38a5-4525-890a-89f27eb0c2d7" providerId="ADAL" clId="{6271EF1A-C00B-48D9-8B1F-8CF74004411B}" dt="2023-03-14T19:46:49.881" v="53" actId="478"/>
          <ac:spMkLst>
            <pc:docMk/>
            <pc:sldMk cId="347107641" sldId="3463"/>
            <ac:spMk id="8" creationId="{8733D081-7649-AA07-75DF-47C2955D00AF}"/>
          </ac:spMkLst>
        </pc:spChg>
        <pc:spChg chg="del">
          <ac:chgData name="Elias Omondi" userId="5cf36897-38a5-4525-890a-89f27eb0c2d7" providerId="ADAL" clId="{6271EF1A-C00B-48D9-8B1F-8CF74004411B}" dt="2023-03-14T19:46:48.546" v="52" actId="478"/>
          <ac:spMkLst>
            <pc:docMk/>
            <pc:sldMk cId="347107641" sldId="3463"/>
            <ac:spMk id="9" creationId="{6433C9DF-6AF3-0E2F-3B1A-C22AF8BC27E6}"/>
          </ac:spMkLst>
        </pc:spChg>
        <pc:spChg chg="del">
          <ac:chgData name="Elias Omondi" userId="5cf36897-38a5-4525-890a-89f27eb0c2d7" providerId="ADAL" clId="{6271EF1A-C00B-48D9-8B1F-8CF74004411B}" dt="2023-03-14T19:46:45.674" v="50" actId="478"/>
          <ac:spMkLst>
            <pc:docMk/>
            <pc:sldMk cId="347107641" sldId="3463"/>
            <ac:spMk id="10" creationId="{833178EF-5FBB-09F0-0139-D732277D6DD1}"/>
          </ac:spMkLst>
        </pc:spChg>
      </pc:sldChg>
      <pc:sldChg chg="delSp modSp mod">
        <pc:chgData name="Elias Omondi" userId="5cf36897-38a5-4525-890a-89f27eb0c2d7" providerId="ADAL" clId="{6271EF1A-C00B-48D9-8B1F-8CF74004411B}" dt="2023-03-14T19:51:18.890" v="93" actId="113"/>
        <pc:sldMkLst>
          <pc:docMk/>
          <pc:sldMk cId="3815923807" sldId="3464"/>
        </pc:sldMkLst>
        <pc:spChg chg="mod">
          <ac:chgData name="Elias Omondi" userId="5cf36897-38a5-4525-890a-89f27eb0c2d7" providerId="ADAL" clId="{6271EF1A-C00B-48D9-8B1F-8CF74004411B}" dt="2023-03-14T19:50:12.870" v="86" actId="1076"/>
          <ac:spMkLst>
            <pc:docMk/>
            <pc:sldMk cId="3815923807" sldId="3464"/>
            <ac:spMk id="2" creationId="{A0AC4660-E99D-10E5-02E2-A48D6B6A72F1}"/>
          </ac:spMkLst>
        </pc:spChg>
        <pc:spChg chg="mod">
          <ac:chgData name="Elias Omondi" userId="5cf36897-38a5-4525-890a-89f27eb0c2d7" providerId="ADAL" clId="{6271EF1A-C00B-48D9-8B1F-8CF74004411B}" dt="2023-03-14T19:51:18.890" v="93" actId="113"/>
          <ac:spMkLst>
            <pc:docMk/>
            <pc:sldMk cId="3815923807" sldId="3464"/>
            <ac:spMk id="6" creationId="{D1C80072-3300-03BF-21EE-085731ACB64B}"/>
          </ac:spMkLst>
        </pc:spChg>
        <pc:picChg chg="del">
          <ac:chgData name="Elias Omondi" userId="5cf36897-38a5-4525-890a-89f27eb0c2d7" providerId="ADAL" clId="{6271EF1A-C00B-48D9-8B1F-8CF74004411B}" dt="2023-03-14T19:48:57.595" v="72" actId="478"/>
          <ac:picMkLst>
            <pc:docMk/>
            <pc:sldMk cId="3815923807" sldId="3464"/>
            <ac:picMk id="7" creationId="{0677ED57-304F-BF04-A782-D39C86BE5291}"/>
          </ac:picMkLst>
        </pc:picChg>
        <pc:picChg chg="mod">
          <ac:chgData name="Elias Omondi" userId="5cf36897-38a5-4525-890a-89f27eb0c2d7" providerId="ADAL" clId="{6271EF1A-C00B-48D9-8B1F-8CF74004411B}" dt="2023-03-14T19:50:09.874" v="85" actId="1076"/>
          <ac:picMkLst>
            <pc:docMk/>
            <pc:sldMk cId="3815923807" sldId="3464"/>
            <ac:picMk id="9" creationId="{2C839654-F9D6-6294-CFAA-DAA1C15117C1}"/>
          </ac:picMkLst>
        </pc:picChg>
      </pc:sldChg>
      <pc:sldChg chg="addSp delSp modSp new mod">
        <pc:chgData name="Elias Omondi" userId="5cf36897-38a5-4525-890a-89f27eb0c2d7" providerId="ADAL" clId="{6271EF1A-C00B-48D9-8B1F-8CF74004411B}" dt="2023-03-14T20:02:23.345" v="157" actId="1076"/>
        <pc:sldMkLst>
          <pc:docMk/>
          <pc:sldMk cId="3506999618" sldId="3465"/>
        </pc:sldMkLst>
        <pc:spChg chg="mod">
          <ac:chgData name="Elias Omondi" userId="5cf36897-38a5-4525-890a-89f27eb0c2d7" providerId="ADAL" clId="{6271EF1A-C00B-48D9-8B1F-8CF74004411B}" dt="2023-03-14T19:52:01.664" v="95"/>
          <ac:spMkLst>
            <pc:docMk/>
            <pc:sldMk cId="3506999618" sldId="3465"/>
            <ac:spMk id="2" creationId="{51BCA554-4609-0688-1989-EB0355DEB3B5}"/>
          </ac:spMkLst>
        </pc:spChg>
        <pc:spChg chg="del mod">
          <ac:chgData name="Elias Omondi" userId="5cf36897-38a5-4525-890a-89f27eb0c2d7" providerId="ADAL" clId="{6271EF1A-C00B-48D9-8B1F-8CF74004411B}" dt="2023-03-14T19:57:10.906" v="105" actId="478"/>
          <ac:spMkLst>
            <pc:docMk/>
            <pc:sldMk cId="3506999618" sldId="3465"/>
            <ac:spMk id="9" creationId="{4451B863-3317-4005-31C5-6E50878934B5}"/>
          </ac:spMkLst>
        </pc:spChg>
        <pc:spChg chg="del mod">
          <ac:chgData name="Elias Omondi" userId="5cf36897-38a5-4525-890a-89f27eb0c2d7" providerId="ADAL" clId="{6271EF1A-C00B-48D9-8B1F-8CF74004411B}" dt="2023-03-14T19:57:04.258" v="103" actId="478"/>
          <ac:spMkLst>
            <pc:docMk/>
            <pc:sldMk cId="3506999618" sldId="3465"/>
            <ac:spMk id="11" creationId="{60978B25-442D-1F3B-2E27-93E72268121F}"/>
          </ac:spMkLst>
        </pc:spChg>
        <pc:spChg chg="del mod">
          <ac:chgData name="Elias Omondi" userId="5cf36897-38a5-4525-890a-89f27eb0c2d7" providerId="ADAL" clId="{6271EF1A-C00B-48D9-8B1F-8CF74004411B}" dt="2023-03-14T19:57:26.778" v="111" actId="478"/>
          <ac:spMkLst>
            <pc:docMk/>
            <pc:sldMk cId="3506999618" sldId="3465"/>
            <ac:spMk id="13" creationId="{1190E57C-B8DA-CD18-4DBA-3B1972A97333}"/>
          </ac:spMkLst>
        </pc:spChg>
        <pc:spChg chg="del mod">
          <ac:chgData name="Elias Omondi" userId="5cf36897-38a5-4525-890a-89f27eb0c2d7" providerId="ADAL" clId="{6271EF1A-C00B-48D9-8B1F-8CF74004411B}" dt="2023-03-14T19:57:24.925" v="110" actId="478"/>
          <ac:spMkLst>
            <pc:docMk/>
            <pc:sldMk cId="3506999618" sldId="3465"/>
            <ac:spMk id="15" creationId="{977DAFB1-DF9D-02DE-DDE8-C74A4FF8F1C8}"/>
          </ac:spMkLst>
        </pc:spChg>
        <pc:spChg chg="del mod">
          <ac:chgData name="Elias Omondi" userId="5cf36897-38a5-4525-890a-89f27eb0c2d7" providerId="ADAL" clId="{6271EF1A-C00B-48D9-8B1F-8CF74004411B}" dt="2023-03-14T19:56:59.993" v="102" actId="478"/>
          <ac:spMkLst>
            <pc:docMk/>
            <pc:sldMk cId="3506999618" sldId="3465"/>
            <ac:spMk id="18" creationId="{AEA30697-FE66-E955-4F18-ED207006B211}"/>
          </ac:spMkLst>
        </pc:spChg>
        <pc:spChg chg="add mod">
          <ac:chgData name="Elias Omondi" userId="5cf36897-38a5-4525-890a-89f27eb0c2d7" providerId="ADAL" clId="{6271EF1A-C00B-48D9-8B1F-8CF74004411B}" dt="2023-03-14T20:01:21.533" v="148" actId="1076"/>
          <ac:spMkLst>
            <pc:docMk/>
            <pc:sldMk cId="3506999618" sldId="3465"/>
            <ac:spMk id="20" creationId="{48A49EB3-3530-5BF2-742D-4A50D318C1A7}"/>
          </ac:spMkLst>
        </pc:spChg>
        <pc:grpChg chg="add del mod">
          <ac:chgData name="Elias Omondi" userId="5cf36897-38a5-4525-890a-89f27eb0c2d7" providerId="ADAL" clId="{6271EF1A-C00B-48D9-8B1F-8CF74004411B}" dt="2023-03-14T19:57:28.833" v="112" actId="478"/>
          <ac:grpSpMkLst>
            <pc:docMk/>
            <pc:sldMk cId="3506999618" sldId="3465"/>
            <ac:grpSpMk id="6" creationId="{273AF7CF-B0C0-0069-9FF9-247F0A84397B}"/>
          </ac:grpSpMkLst>
        </pc:grpChg>
        <pc:picChg chg="mod topLvl">
          <ac:chgData name="Elias Omondi" userId="5cf36897-38a5-4525-890a-89f27eb0c2d7" providerId="ADAL" clId="{6271EF1A-C00B-48D9-8B1F-8CF74004411B}" dt="2023-03-14T20:02:19.057" v="155" actId="14100"/>
          <ac:picMkLst>
            <pc:docMk/>
            <pc:sldMk cId="3506999618" sldId="3465"/>
            <ac:picMk id="7" creationId="{E093B64F-9502-CD80-8F98-5F6C8253515C}"/>
          </ac:picMkLst>
        </pc:picChg>
        <pc:picChg chg="del mod topLvl">
          <ac:chgData name="Elias Omondi" userId="5cf36897-38a5-4525-890a-89f27eb0c2d7" providerId="ADAL" clId="{6271EF1A-C00B-48D9-8B1F-8CF74004411B}" dt="2023-03-14T19:57:28.833" v="112" actId="478"/>
          <ac:picMkLst>
            <pc:docMk/>
            <pc:sldMk cId="3506999618" sldId="3465"/>
            <ac:picMk id="8" creationId="{D3673DB5-5E46-377E-B08E-18AF481F5FA9}"/>
          </ac:picMkLst>
        </pc:picChg>
        <pc:picChg chg="del mod">
          <ac:chgData name="Elias Omondi" userId="5cf36897-38a5-4525-890a-89f27eb0c2d7" providerId="ADAL" clId="{6271EF1A-C00B-48D9-8B1F-8CF74004411B}" dt="2023-03-14T19:57:07.506" v="104" actId="478"/>
          <ac:picMkLst>
            <pc:docMk/>
            <pc:sldMk cId="3506999618" sldId="3465"/>
            <ac:picMk id="10" creationId="{32FB2983-1B56-ED11-7F95-851B3636ACEA}"/>
          </ac:picMkLst>
        </pc:picChg>
        <pc:picChg chg="del mod">
          <ac:chgData name="Elias Omondi" userId="5cf36897-38a5-4525-890a-89f27eb0c2d7" providerId="ADAL" clId="{6271EF1A-C00B-48D9-8B1F-8CF74004411B}" dt="2023-03-14T19:57:14.135" v="106" actId="478"/>
          <ac:picMkLst>
            <pc:docMk/>
            <pc:sldMk cId="3506999618" sldId="3465"/>
            <ac:picMk id="12" creationId="{A6545D82-2931-3869-77E2-6F179CC4E3CD}"/>
          </ac:picMkLst>
        </pc:picChg>
        <pc:picChg chg="del mod">
          <ac:chgData name="Elias Omondi" userId="5cf36897-38a5-4525-890a-89f27eb0c2d7" providerId="ADAL" clId="{6271EF1A-C00B-48D9-8B1F-8CF74004411B}" dt="2023-03-14T19:57:18.560" v="107" actId="478"/>
          <ac:picMkLst>
            <pc:docMk/>
            <pc:sldMk cId="3506999618" sldId="3465"/>
            <ac:picMk id="14" creationId="{1839DBAE-1E2B-F749-9AF1-6B93CF0BCFC6}"/>
          </ac:picMkLst>
        </pc:picChg>
        <pc:picChg chg="del mod">
          <ac:chgData name="Elias Omondi" userId="5cf36897-38a5-4525-890a-89f27eb0c2d7" providerId="ADAL" clId="{6271EF1A-C00B-48D9-8B1F-8CF74004411B}" dt="2023-03-14T19:57:21" v="108" actId="478"/>
          <ac:picMkLst>
            <pc:docMk/>
            <pc:sldMk cId="3506999618" sldId="3465"/>
            <ac:picMk id="16" creationId="{0EC20F50-BF4C-D9EE-55AA-9628E3344476}"/>
          </ac:picMkLst>
        </pc:picChg>
        <pc:picChg chg="del mod">
          <ac:chgData name="Elias Omondi" userId="5cf36897-38a5-4525-890a-89f27eb0c2d7" providerId="ADAL" clId="{6271EF1A-C00B-48D9-8B1F-8CF74004411B}" dt="2023-03-14T19:57:23.038" v="109" actId="478"/>
          <ac:picMkLst>
            <pc:docMk/>
            <pc:sldMk cId="3506999618" sldId="3465"/>
            <ac:picMk id="17" creationId="{FDEC8BBC-3144-40D2-0E6B-D27EE2158DAD}"/>
          </ac:picMkLst>
        </pc:picChg>
        <pc:picChg chg="add mod">
          <ac:chgData name="Elias Omondi" userId="5cf36897-38a5-4525-890a-89f27eb0c2d7" providerId="ADAL" clId="{6271EF1A-C00B-48D9-8B1F-8CF74004411B}" dt="2023-03-14T20:02:23.345" v="157" actId="1076"/>
          <ac:picMkLst>
            <pc:docMk/>
            <pc:sldMk cId="3506999618" sldId="3465"/>
            <ac:picMk id="22" creationId="{A0A927A2-B0A6-914A-5BAC-7D48D83D4D67}"/>
          </ac:picMkLst>
        </pc:picChg>
        <pc:picChg chg="add del mod">
          <ac:chgData name="Elias Omondi" userId="5cf36897-38a5-4525-890a-89f27eb0c2d7" providerId="ADAL" clId="{6271EF1A-C00B-48D9-8B1F-8CF74004411B}" dt="2023-03-14T20:00:43.918" v="133" actId="478"/>
          <ac:picMkLst>
            <pc:docMk/>
            <pc:sldMk cId="3506999618" sldId="3465"/>
            <ac:picMk id="1026" creationId="{29F5D14E-3BD9-6014-65E2-31C23EDBF60A}"/>
          </ac:picMkLst>
        </pc:picChg>
        <pc:picChg chg="add mod">
          <ac:chgData name="Elias Omondi" userId="5cf36897-38a5-4525-890a-89f27eb0c2d7" providerId="ADAL" clId="{6271EF1A-C00B-48D9-8B1F-8CF74004411B}" dt="2023-03-14T20:02:21.876" v="156" actId="14100"/>
          <ac:picMkLst>
            <pc:docMk/>
            <pc:sldMk cId="3506999618" sldId="3465"/>
            <ac:picMk id="1028" creationId="{AC7FA9E9-6511-38CB-9A44-CB0F9AD80248}"/>
          </ac:picMkLst>
        </pc:picChg>
      </pc:sldChg>
      <pc:sldChg chg="addSp delSp modSp new mod">
        <pc:chgData name="Elias Omondi" userId="5cf36897-38a5-4525-890a-89f27eb0c2d7" providerId="ADAL" clId="{6271EF1A-C00B-48D9-8B1F-8CF74004411B}" dt="2023-03-14T20:29:06.035" v="243" actId="12100"/>
        <pc:sldMkLst>
          <pc:docMk/>
          <pc:sldMk cId="1039126108" sldId="3466"/>
        </pc:sldMkLst>
        <pc:spChg chg="del">
          <ac:chgData name="Elias Omondi" userId="5cf36897-38a5-4525-890a-89f27eb0c2d7" providerId="ADAL" clId="{6271EF1A-C00B-48D9-8B1F-8CF74004411B}" dt="2023-03-14T20:14:25.444" v="186"/>
          <ac:spMkLst>
            <pc:docMk/>
            <pc:sldMk cId="1039126108" sldId="3466"/>
            <ac:spMk id="2" creationId="{17934371-DAB9-3A82-086B-9362545A99EB}"/>
          </ac:spMkLst>
        </pc:spChg>
        <pc:spChg chg="mod">
          <ac:chgData name="Elias Omondi" userId="5cf36897-38a5-4525-890a-89f27eb0c2d7" providerId="ADAL" clId="{6271EF1A-C00B-48D9-8B1F-8CF74004411B}" dt="2023-03-14T20:06:37.771" v="161"/>
          <ac:spMkLst>
            <pc:docMk/>
            <pc:sldMk cId="1039126108" sldId="3466"/>
            <ac:spMk id="3" creationId="{1BEF13AB-5E60-2CE5-3ACB-D0ACB8B42BBE}"/>
          </ac:spMkLst>
        </pc:spChg>
        <pc:spChg chg="mod">
          <ac:chgData name="Elias Omondi" userId="5cf36897-38a5-4525-890a-89f27eb0c2d7" providerId="ADAL" clId="{6271EF1A-C00B-48D9-8B1F-8CF74004411B}" dt="2023-03-14T20:07:19.181" v="171" actId="20577"/>
          <ac:spMkLst>
            <pc:docMk/>
            <pc:sldMk cId="1039126108" sldId="3466"/>
            <ac:spMk id="4" creationId="{71B10CAF-37CD-678E-AE43-41D15460CADE}"/>
          </ac:spMkLst>
        </pc:spChg>
        <pc:spChg chg="mod">
          <ac:chgData name="Elias Omondi" userId="5cf36897-38a5-4525-890a-89f27eb0c2d7" providerId="ADAL" clId="{6271EF1A-C00B-48D9-8B1F-8CF74004411B}" dt="2023-03-14T20:15:50.861" v="193" actId="1076"/>
          <ac:spMkLst>
            <pc:docMk/>
            <pc:sldMk cId="1039126108" sldId="3466"/>
            <ac:spMk id="7" creationId="{1E46CA72-6C31-423E-8B07-AF1FAE0EFEB0}"/>
          </ac:spMkLst>
        </pc:spChg>
        <pc:spChg chg="del">
          <ac:chgData name="Elias Omondi" userId="5cf36897-38a5-4525-890a-89f27eb0c2d7" providerId="ADAL" clId="{6271EF1A-C00B-48D9-8B1F-8CF74004411B}" dt="2023-03-14T20:06:53.730" v="162" actId="478"/>
          <ac:spMkLst>
            <pc:docMk/>
            <pc:sldMk cId="1039126108" sldId="3466"/>
            <ac:spMk id="8" creationId="{70AAC7A8-3606-9F75-E9C5-92459AD89CD0}"/>
          </ac:spMkLst>
        </pc:spChg>
        <pc:spChg chg="del">
          <ac:chgData name="Elias Omondi" userId="5cf36897-38a5-4525-890a-89f27eb0c2d7" providerId="ADAL" clId="{6271EF1A-C00B-48D9-8B1F-8CF74004411B}" dt="2023-03-14T20:07:11.649" v="165" actId="478"/>
          <ac:spMkLst>
            <pc:docMk/>
            <pc:sldMk cId="1039126108" sldId="3466"/>
            <ac:spMk id="9" creationId="{6504B9EC-6E17-988F-CC45-518E153308B4}"/>
          </ac:spMkLst>
        </pc:spChg>
        <pc:graphicFrameChg chg="add mod modGraphic">
          <ac:chgData name="Elias Omondi" userId="5cf36897-38a5-4525-890a-89f27eb0c2d7" providerId="ADAL" clId="{6271EF1A-C00B-48D9-8B1F-8CF74004411B}" dt="2023-03-14T20:29:06.035" v="243" actId="12100"/>
          <ac:graphicFrameMkLst>
            <pc:docMk/>
            <pc:sldMk cId="1039126108" sldId="3466"/>
            <ac:graphicFrameMk id="11" creationId="{0511B25C-5112-76A1-7DE4-A87077C825CB}"/>
          </ac:graphicFrameMkLst>
        </pc:graphicFrameChg>
        <pc:picChg chg="add mod">
          <ac:chgData name="Elias Omondi" userId="5cf36897-38a5-4525-890a-89f27eb0c2d7" providerId="ADAL" clId="{6271EF1A-C00B-48D9-8B1F-8CF74004411B}" dt="2023-03-14T20:14:25.444" v="186"/>
          <ac:picMkLst>
            <pc:docMk/>
            <pc:sldMk cId="1039126108" sldId="3466"/>
            <ac:picMk id="10" creationId="{6C541F61-920D-F192-F33B-079789CDC545}"/>
          </ac:picMkLst>
        </pc:picChg>
      </pc:sldChg>
      <pc:sldChg chg="addSp delSp modSp add mod ord">
        <pc:chgData name="Elias Omondi" userId="5cf36897-38a5-4525-890a-89f27eb0c2d7" providerId="ADAL" clId="{6271EF1A-C00B-48D9-8B1F-8CF74004411B}" dt="2023-03-14T20:39:49.215" v="263" actId="1076"/>
        <pc:sldMkLst>
          <pc:docMk/>
          <pc:sldMk cId="1214837310" sldId="3467"/>
        </pc:sldMkLst>
        <pc:spChg chg="mod">
          <ac:chgData name="Elias Omondi" userId="5cf36897-38a5-4525-890a-89f27eb0c2d7" providerId="ADAL" clId="{6271EF1A-C00B-48D9-8B1F-8CF74004411B}" dt="2023-03-14T20:36:47.612" v="249" actId="14100"/>
          <ac:spMkLst>
            <pc:docMk/>
            <pc:sldMk cId="1214837310" sldId="3467"/>
            <ac:spMk id="2" creationId="{25E86163-F55F-C5B0-36E9-EC65DF6EA8D3}"/>
          </ac:spMkLst>
        </pc:spChg>
        <pc:spChg chg="add mod">
          <ac:chgData name="Elias Omondi" userId="5cf36897-38a5-4525-890a-89f27eb0c2d7" providerId="ADAL" clId="{6271EF1A-C00B-48D9-8B1F-8CF74004411B}" dt="2023-03-14T20:37:21.777" v="253" actId="1076"/>
          <ac:spMkLst>
            <pc:docMk/>
            <pc:sldMk cId="1214837310" sldId="3467"/>
            <ac:spMk id="6" creationId="{495B9488-DF2C-243A-3618-9B4EE14E567A}"/>
          </ac:spMkLst>
        </pc:spChg>
        <pc:picChg chg="del">
          <ac:chgData name="Elias Omondi" userId="5cf36897-38a5-4525-890a-89f27eb0c2d7" providerId="ADAL" clId="{6271EF1A-C00B-48D9-8B1F-8CF74004411B}" dt="2023-03-14T20:36:49.544" v="250" actId="478"/>
          <ac:picMkLst>
            <pc:docMk/>
            <pc:sldMk cId="1214837310" sldId="3467"/>
            <ac:picMk id="7" creationId="{B68CA0AF-0D7F-6053-FEBB-DF9170DEEB33}"/>
          </ac:picMkLst>
        </pc:picChg>
        <pc:picChg chg="add mod modCrop">
          <ac:chgData name="Elias Omondi" userId="5cf36897-38a5-4525-890a-89f27eb0c2d7" providerId="ADAL" clId="{6271EF1A-C00B-48D9-8B1F-8CF74004411B}" dt="2023-03-14T20:39:39.576" v="261" actId="14100"/>
          <ac:picMkLst>
            <pc:docMk/>
            <pc:sldMk cId="1214837310" sldId="3467"/>
            <ac:picMk id="9" creationId="{F8A088CD-DD54-EDFB-35D7-5227DB9A3F2E}"/>
          </ac:picMkLst>
        </pc:picChg>
        <pc:picChg chg="add mod">
          <ac:chgData name="Elias Omondi" userId="5cf36897-38a5-4525-890a-89f27eb0c2d7" providerId="ADAL" clId="{6271EF1A-C00B-48D9-8B1F-8CF74004411B}" dt="2023-03-14T20:39:49.215" v="263" actId="1076"/>
          <ac:picMkLst>
            <pc:docMk/>
            <pc:sldMk cId="1214837310" sldId="3467"/>
            <ac:picMk id="11" creationId="{F48CC66F-8504-363D-5D84-7A5A22D4F9E6}"/>
          </ac:picMkLst>
        </pc:picChg>
      </pc:sldChg>
    </pc:docChg>
  </pc:docChgLst>
  <pc:docChgLst>
    <pc:chgData name="Elias Omondi" userId="5cf36897-38a5-4525-890a-89f27eb0c2d7" providerId="ADAL" clId="{C567BB18-30C9-4E47-8D27-54DCA23A3811}"/>
    <pc:docChg chg="modSld">
      <pc:chgData name="Elias Omondi" userId="5cf36897-38a5-4525-890a-89f27eb0c2d7" providerId="ADAL" clId="{C567BB18-30C9-4E47-8D27-54DCA23A3811}" dt="2022-11-25T10:53:14.132" v="25" actId="20577"/>
      <pc:docMkLst>
        <pc:docMk/>
      </pc:docMkLst>
      <pc:sldChg chg="addSp delSp modSp mod">
        <pc:chgData name="Elias Omondi" userId="5cf36897-38a5-4525-890a-89f27eb0c2d7" providerId="ADAL" clId="{C567BB18-30C9-4E47-8D27-54DCA23A3811}" dt="2022-11-25T10:53:14.132" v="25" actId="20577"/>
        <pc:sldMkLst>
          <pc:docMk/>
          <pc:sldMk cId="244331174" sldId="280"/>
        </pc:sldMkLst>
        <pc:spChg chg="mod">
          <ac:chgData name="Elias Omondi" userId="5cf36897-38a5-4525-890a-89f27eb0c2d7" providerId="ADAL" clId="{C567BB18-30C9-4E47-8D27-54DCA23A3811}" dt="2022-11-25T10:53:14.132" v="25" actId="20577"/>
          <ac:spMkLst>
            <pc:docMk/>
            <pc:sldMk cId="244331174" sldId="280"/>
            <ac:spMk id="6" creationId="{00000000-0000-0000-0000-000000000000}"/>
          </ac:spMkLst>
        </pc:spChg>
        <pc:graphicFrameChg chg="add del mod">
          <ac:chgData name="Elias Omondi" userId="5cf36897-38a5-4525-890a-89f27eb0c2d7" providerId="ADAL" clId="{C567BB18-30C9-4E47-8D27-54DCA23A3811}" dt="2022-11-25T10:52:42.648" v="2"/>
          <ac:graphicFrameMkLst>
            <pc:docMk/>
            <pc:sldMk cId="244331174" sldId="280"/>
            <ac:graphicFrameMk id="9" creationId="{C4584954-A427-C9D8-0C13-995E72A41A07}"/>
          </ac:graphicFrameMkLst>
        </pc:graphicFrameChg>
        <pc:picChg chg="add mod">
          <ac:chgData name="Elias Omondi" userId="5cf36897-38a5-4525-890a-89f27eb0c2d7" providerId="ADAL" clId="{C567BB18-30C9-4E47-8D27-54DCA23A3811}" dt="2022-11-25T10:53:03.348" v="4" actId="1076"/>
          <ac:picMkLst>
            <pc:docMk/>
            <pc:sldMk cId="244331174" sldId="280"/>
            <ac:picMk id="1026" creationId="{75FA6273-2448-84C6-07BE-5883DAC0063B}"/>
          </ac:picMkLst>
        </pc:picChg>
        <pc:picChg chg="del">
          <ac:chgData name="Elias Omondi" userId="5cf36897-38a5-4525-890a-89f27eb0c2d7" providerId="ADAL" clId="{C567BB18-30C9-4E47-8D27-54DCA23A3811}" dt="2022-11-25T10:52:31.707" v="0" actId="478"/>
          <ac:picMkLst>
            <pc:docMk/>
            <pc:sldMk cId="244331174" sldId="280"/>
            <ac:picMk id="1028" creationId="{6ABBFD5E-674C-6CC1-1E52-D8DCAFE9F857}"/>
          </ac:picMkLst>
        </pc:picChg>
      </pc:sldChg>
    </pc:docChg>
  </pc:docChgLst>
  <pc:docChgLst>
    <pc:chgData name="Elias Omondi" userId="5cf36897-38a5-4525-890a-89f27eb0c2d7" providerId="ADAL" clId="{16DC00E2-A952-40DA-80FC-FB7DE864358D}"/>
    <pc:docChg chg="undo custSel addSld delSld modSld sldOrd">
      <pc:chgData name="Elias Omondi" userId="5cf36897-38a5-4525-890a-89f27eb0c2d7" providerId="ADAL" clId="{16DC00E2-A952-40DA-80FC-FB7DE864358D}" dt="2023-05-28T22:34:42.865" v="563" actId="1076"/>
      <pc:docMkLst>
        <pc:docMk/>
      </pc:docMkLst>
      <pc:sldChg chg="del">
        <pc:chgData name="Elias Omondi" userId="5cf36897-38a5-4525-890a-89f27eb0c2d7" providerId="ADAL" clId="{16DC00E2-A952-40DA-80FC-FB7DE864358D}" dt="2023-05-28T22:28:25.240" v="474" actId="47"/>
        <pc:sldMkLst>
          <pc:docMk/>
          <pc:sldMk cId="1248452719" sldId="259"/>
        </pc:sldMkLst>
      </pc:sldChg>
      <pc:sldChg chg="addSp delSp modSp mod">
        <pc:chgData name="Elias Omondi" userId="5cf36897-38a5-4525-890a-89f27eb0c2d7" providerId="ADAL" clId="{16DC00E2-A952-40DA-80FC-FB7DE864358D}" dt="2023-05-28T22:32:43.347" v="537" actId="1076"/>
        <pc:sldMkLst>
          <pc:docMk/>
          <pc:sldMk cId="244331174" sldId="280"/>
        </pc:sldMkLst>
        <pc:spChg chg="mod">
          <ac:chgData name="Elias Omondi" userId="5cf36897-38a5-4525-890a-89f27eb0c2d7" providerId="ADAL" clId="{16DC00E2-A952-40DA-80FC-FB7DE864358D}" dt="2023-05-28T21:32:17.799" v="59" actId="255"/>
          <ac:spMkLst>
            <pc:docMk/>
            <pc:sldMk cId="244331174" sldId="280"/>
            <ac:spMk id="5" creationId="{00000000-0000-0000-0000-000000000000}"/>
          </ac:spMkLst>
        </pc:spChg>
        <pc:spChg chg="mod">
          <ac:chgData name="Elias Omondi" userId="5cf36897-38a5-4525-890a-89f27eb0c2d7" providerId="ADAL" clId="{16DC00E2-A952-40DA-80FC-FB7DE864358D}" dt="2023-05-28T22:30:29.173" v="523" actId="5793"/>
          <ac:spMkLst>
            <pc:docMk/>
            <pc:sldMk cId="244331174" sldId="280"/>
            <ac:spMk id="6" creationId="{00000000-0000-0000-0000-000000000000}"/>
          </ac:spMkLst>
        </pc:spChg>
        <pc:grpChg chg="mod">
          <ac:chgData name="Elias Omondi" userId="5cf36897-38a5-4525-890a-89f27eb0c2d7" providerId="ADAL" clId="{16DC00E2-A952-40DA-80FC-FB7DE864358D}" dt="2023-05-28T21:33:45.260" v="60" actId="1076"/>
          <ac:grpSpMkLst>
            <pc:docMk/>
            <pc:sldMk cId="244331174" sldId="280"/>
            <ac:grpSpMk id="2" creationId="{00000000-0000-0000-0000-000000000000}"/>
          </ac:grpSpMkLst>
        </pc:grpChg>
        <pc:picChg chg="del">
          <ac:chgData name="Elias Omondi" userId="5cf36897-38a5-4525-890a-89f27eb0c2d7" providerId="ADAL" clId="{16DC00E2-A952-40DA-80FC-FB7DE864358D}" dt="2023-05-28T21:31:56.534" v="58" actId="478"/>
          <ac:picMkLst>
            <pc:docMk/>
            <pc:sldMk cId="244331174" sldId="280"/>
            <ac:picMk id="21" creationId="{B22F0528-7B98-D2C6-3EDC-F26A0253CC7B}"/>
          </ac:picMkLst>
        </pc:picChg>
        <pc:picChg chg="add mod">
          <ac:chgData name="Elias Omondi" userId="5cf36897-38a5-4525-890a-89f27eb0c2d7" providerId="ADAL" clId="{16DC00E2-A952-40DA-80FC-FB7DE864358D}" dt="2023-05-28T22:32:43.347" v="537" actId="1076"/>
          <ac:picMkLst>
            <pc:docMk/>
            <pc:sldMk cId="244331174" sldId="280"/>
            <ac:picMk id="1026" creationId="{DA43D48D-0440-7D9A-3FAA-0869BACF9C36}"/>
          </ac:picMkLst>
        </pc:picChg>
      </pc:sldChg>
      <pc:sldChg chg="addSp modSp mod">
        <pc:chgData name="Elias Omondi" userId="5cf36897-38a5-4525-890a-89f27eb0c2d7" providerId="ADAL" clId="{16DC00E2-A952-40DA-80FC-FB7DE864358D}" dt="2023-05-28T22:33:27.697" v="545" actId="1076"/>
        <pc:sldMkLst>
          <pc:docMk/>
          <pc:sldMk cId="2541450406" sldId="297"/>
        </pc:sldMkLst>
        <pc:graphicFrameChg chg="mod">
          <ac:chgData name="Elias Omondi" userId="5cf36897-38a5-4525-890a-89f27eb0c2d7" providerId="ADAL" clId="{16DC00E2-A952-40DA-80FC-FB7DE864358D}" dt="2023-05-28T21:39:17.105" v="70" actId="1076"/>
          <ac:graphicFrameMkLst>
            <pc:docMk/>
            <pc:sldMk cId="2541450406" sldId="297"/>
            <ac:graphicFrameMk id="11" creationId="{352A533F-19E2-4803-B1E3-E12D53847BD2}"/>
          </ac:graphicFrameMkLst>
        </pc:graphicFrameChg>
        <pc:picChg chg="add mod">
          <ac:chgData name="Elias Omondi" userId="5cf36897-38a5-4525-890a-89f27eb0c2d7" providerId="ADAL" clId="{16DC00E2-A952-40DA-80FC-FB7DE864358D}" dt="2023-05-28T22:33:27.697" v="545" actId="1076"/>
          <ac:picMkLst>
            <pc:docMk/>
            <pc:sldMk cId="2541450406" sldId="297"/>
            <ac:picMk id="2" creationId="{A504E0CE-EB31-30EB-046D-B8906F92FAFC}"/>
          </ac:picMkLst>
        </pc:picChg>
      </pc:sldChg>
      <pc:sldChg chg="add del">
        <pc:chgData name="Elias Omondi" userId="5cf36897-38a5-4525-890a-89f27eb0c2d7" providerId="ADAL" clId="{16DC00E2-A952-40DA-80FC-FB7DE864358D}" dt="2023-05-28T22:28:32.365" v="477" actId="47"/>
        <pc:sldMkLst>
          <pc:docMk/>
          <pc:sldMk cId="45365290" sldId="1300"/>
        </pc:sldMkLst>
      </pc:sldChg>
      <pc:sldChg chg="del">
        <pc:chgData name="Elias Omondi" userId="5cf36897-38a5-4525-890a-89f27eb0c2d7" providerId="ADAL" clId="{16DC00E2-A952-40DA-80FC-FB7DE864358D}" dt="2023-05-28T22:28:41.256" v="482" actId="47"/>
        <pc:sldMkLst>
          <pc:docMk/>
          <pc:sldMk cId="1272786048" sldId="3436"/>
        </pc:sldMkLst>
      </pc:sldChg>
      <pc:sldChg chg="del">
        <pc:chgData name="Elias Omondi" userId="5cf36897-38a5-4525-890a-89f27eb0c2d7" providerId="ADAL" clId="{16DC00E2-A952-40DA-80FC-FB7DE864358D}" dt="2023-05-28T22:26:53.490" v="463" actId="2696"/>
        <pc:sldMkLst>
          <pc:docMk/>
          <pc:sldMk cId="985049820" sldId="3441"/>
        </pc:sldMkLst>
      </pc:sldChg>
      <pc:sldChg chg="addSp modSp mod ord">
        <pc:chgData name="Elias Omondi" userId="5cf36897-38a5-4525-890a-89f27eb0c2d7" providerId="ADAL" clId="{16DC00E2-A952-40DA-80FC-FB7DE864358D}" dt="2023-05-28T22:33:07.980" v="541" actId="1076"/>
        <pc:sldMkLst>
          <pc:docMk/>
          <pc:sldMk cId="2548504217" sldId="3442"/>
        </pc:sldMkLst>
        <pc:spChg chg="mod">
          <ac:chgData name="Elias Omondi" userId="5cf36897-38a5-4525-890a-89f27eb0c2d7" providerId="ADAL" clId="{16DC00E2-A952-40DA-80FC-FB7DE864358D}" dt="2023-05-28T22:30:57.224" v="526" actId="1076"/>
          <ac:spMkLst>
            <pc:docMk/>
            <pc:sldMk cId="2548504217" sldId="3442"/>
            <ac:spMk id="2" creationId="{DBB06AAD-65AB-1487-2F3F-0F00E26BF70C}"/>
          </ac:spMkLst>
        </pc:spChg>
        <pc:picChg chg="add mod">
          <ac:chgData name="Elias Omondi" userId="5cf36897-38a5-4525-890a-89f27eb0c2d7" providerId="ADAL" clId="{16DC00E2-A952-40DA-80FC-FB7DE864358D}" dt="2023-05-28T22:33:07.980" v="541" actId="1076"/>
          <ac:picMkLst>
            <pc:docMk/>
            <pc:sldMk cId="2548504217" sldId="3442"/>
            <ac:picMk id="3" creationId="{433CA794-E2A0-A2A0-567D-8A62AFBAF2F7}"/>
          </ac:picMkLst>
        </pc:picChg>
        <pc:picChg chg="mod">
          <ac:chgData name="Elias Omondi" userId="5cf36897-38a5-4525-890a-89f27eb0c2d7" providerId="ADAL" clId="{16DC00E2-A952-40DA-80FC-FB7DE864358D}" dt="2023-05-28T22:30:51.278" v="525" actId="1076"/>
          <ac:picMkLst>
            <pc:docMk/>
            <pc:sldMk cId="2548504217" sldId="3442"/>
            <ac:picMk id="7" creationId="{14E2649A-4E9C-0679-5917-3925E680FC31}"/>
          </ac:picMkLst>
        </pc:picChg>
      </pc:sldChg>
      <pc:sldChg chg="del">
        <pc:chgData name="Elias Omondi" userId="5cf36897-38a5-4525-890a-89f27eb0c2d7" providerId="ADAL" clId="{16DC00E2-A952-40DA-80FC-FB7DE864358D}" dt="2023-05-28T22:27:20.466" v="466" actId="2696"/>
        <pc:sldMkLst>
          <pc:docMk/>
          <pc:sldMk cId="3001883873" sldId="3443"/>
        </pc:sldMkLst>
      </pc:sldChg>
      <pc:sldChg chg="del">
        <pc:chgData name="Elias Omondi" userId="5cf36897-38a5-4525-890a-89f27eb0c2d7" providerId="ADAL" clId="{16DC00E2-A952-40DA-80FC-FB7DE864358D}" dt="2023-05-28T22:27:23.600" v="467" actId="2696"/>
        <pc:sldMkLst>
          <pc:docMk/>
          <pc:sldMk cId="1051552256" sldId="3444"/>
        </pc:sldMkLst>
      </pc:sldChg>
      <pc:sldChg chg="del">
        <pc:chgData name="Elias Omondi" userId="5cf36897-38a5-4525-890a-89f27eb0c2d7" providerId="ADAL" clId="{16DC00E2-A952-40DA-80FC-FB7DE864358D}" dt="2023-05-28T22:27:26.641" v="468" actId="2696"/>
        <pc:sldMkLst>
          <pc:docMk/>
          <pc:sldMk cId="4148858841" sldId="3445"/>
        </pc:sldMkLst>
      </pc:sldChg>
      <pc:sldChg chg="addSp delSp modSp mod ord">
        <pc:chgData name="Elias Omondi" userId="5cf36897-38a5-4525-890a-89f27eb0c2d7" providerId="ADAL" clId="{16DC00E2-A952-40DA-80FC-FB7DE864358D}" dt="2023-05-28T22:18:25.056" v="435" actId="1076"/>
        <pc:sldMkLst>
          <pc:docMk/>
          <pc:sldMk cId="1424755497" sldId="3446"/>
        </pc:sldMkLst>
        <pc:spChg chg="mod">
          <ac:chgData name="Elias Omondi" userId="5cf36897-38a5-4525-890a-89f27eb0c2d7" providerId="ADAL" clId="{16DC00E2-A952-40DA-80FC-FB7DE864358D}" dt="2023-05-28T22:00:23.111" v="196" actId="1076"/>
          <ac:spMkLst>
            <pc:docMk/>
            <pc:sldMk cId="1424755497" sldId="3446"/>
            <ac:spMk id="2" creationId="{F111D642-F9C8-199B-29A7-28F792900461}"/>
          </ac:spMkLst>
        </pc:spChg>
        <pc:graphicFrameChg chg="add del mod modGraphic">
          <ac:chgData name="Elias Omondi" userId="5cf36897-38a5-4525-890a-89f27eb0c2d7" providerId="ADAL" clId="{16DC00E2-A952-40DA-80FC-FB7DE864358D}" dt="2023-05-28T22:05:54.978" v="207" actId="478"/>
          <ac:graphicFrameMkLst>
            <pc:docMk/>
            <pc:sldMk cId="1424755497" sldId="3446"/>
            <ac:graphicFrameMk id="3" creationId="{736F915F-A23D-B95B-8D02-A9D57FD8A7B2}"/>
          </ac:graphicFrameMkLst>
        </pc:graphicFrameChg>
        <pc:graphicFrameChg chg="add mod modGraphic">
          <ac:chgData name="Elias Omondi" userId="5cf36897-38a5-4525-890a-89f27eb0c2d7" providerId="ADAL" clId="{16DC00E2-A952-40DA-80FC-FB7DE864358D}" dt="2023-05-28T22:18:25.056" v="435" actId="1076"/>
          <ac:graphicFrameMkLst>
            <pc:docMk/>
            <pc:sldMk cId="1424755497" sldId="3446"/>
            <ac:graphicFrameMk id="6" creationId="{9D52AF65-D49B-3C39-E920-5BFA93F79CC9}"/>
          </ac:graphicFrameMkLst>
        </pc:graphicFrameChg>
        <pc:picChg chg="del">
          <ac:chgData name="Elias Omondi" userId="5cf36897-38a5-4525-890a-89f27eb0c2d7" providerId="ADAL" clId="{16DC00E2-A952-40DA-80FC-FB7DE864358D}" dt="2023-05-28T22:00:06.287" v="175" actId="478"/>
          <ac:picMkLst>
            <pc:docMk/>
            <pc:sldMk cId="1424755497" sldId="3446"/>
            <ac:picMk id="7" creationId="{CEBC0A54-1574-2B77-58E6-9565566C5B71}"/>
          </ac:picMkLst>
        </pc:picChg>
        <pc:picChg chg="add del mod">
          <ac:chgData name="Elias Omondi" userId="5cf36897-38a5-4525-890a-89f27eb0c2d7" providerId="ADAL" clId="{16DC00E2-A952-40DA-80FC-FB7DE864358D}" dt="2023-05-28T22:17:40.953" v="428" actId="478"/>
          <ac:picMkLst>
            <pc:docMk/>
            <pc:sldMk cId="1424755497" sldId="3446"/>
            <ac:picMk id="8" creationId="{B885303F-7A93-FE29-A0E0-5AF7AF7F1D4D}"/>
          </ac:picMkLst>
        </pc:picChg>
        <pc:picChg chg="add mod ord">
          <ac:chgData name="Elias Omondi" userId="5cf36897-38a5-4525-890a-89f27eb0c2d7" providerId="ADAL" clId="{16DC00E2-A952-40DA-80FC-FB7DE864358D}" dt="2023-05-28T22:18:13.161" v="434" actId="14100"/>
          <ac:picMkLst>
            <pc:docMk/>
            <pc:sldMk cId="1424755497" sldId="3446"/>
            <ac:picMk id="9" creationId="{D454B5DE-F0A6-50F7-5EDA-DCBD2C1148B8}"/>
          </ac:picMkLst>
        </pc:picChg>
      </pc:sldChg>
      <pc:sldChg chg="del">
        <pc:chgData name="Elias Omondi" userId="5cf36897-38a5-4525-890a-89f27eb0c2d7" providerId="ADAL" clId="{16DC00E2-A952-40DA-80FC-FB7DE864358D}" dt="2023-05-28T22:28:10.788" v="470" actId="2696"/>
        <pc:sldMkLst>
          <pc:docMk/>
          <pc:sldMk cId="2123757205" sldId="3447"/>
        </pc:sldMkLst>
      </pc:sldChg>
      <pc:sldChg chg="del">
        <pc:chgData name="Elias Omondi" userId="5cf36897-38a5-4525-890a-89f27eb0c2d7" providerId="ADAL" clId="{16DC00E2-A952-40DA-80FC-FB7DE864358D}" dt="2023-05-28T22:28:40.023" v="481" actId="47"/>
        <pc:sldMkLst>
          <pc:docMk/>
          <pc:sldMk cId="1024734935" sldId="3451"/>
        </pc:sldMkLst>
      </pc:sldChg>
      <pc:sldChg chg="del">
        <pc:chgData name="Elias Omondi" userId="5cf36897-38a5-4525-890a-89f27eb0c2d7" providerId="ADAL" clId="{16DC00E2-A952-40DA-80FC-FB7DE864358D}" dt="2023-05-28T22:28:43.350" v="483" actId="47"/>
        <pc:sldMkLst>
          <pc:docMk/>
          <pc:sldMk cId="2823257971" sldId="3455"/>
        </pc:sldMkLst>
      </pc:sldChg>
      <pc:sldChg chg="del">
        <pc:chgData name="Elias Omondi" userId="5cf36897-38a5-4525-890a-89f27eb0c2d7" providerId="ADAL" clId="{16DC00E2-A952-40DA-80FC-FB7DE864358D}" dt="2023-05-28T22:28:44.509" v="484" actId="47"/>
        <pc:sldMkLst>
          <pc:docMk/>
          <pc:sldMk cId="4066678974" sldId="3456"/>
        </pc:sldMkLst>
      </pc:sldChg>
      <pc:sldChg chg="del">
        <pc:chgData name="Elias Omondi" userId="5cf36897-38a5-4525-890a-89f27eb0c2d7" providerId="ADAL" clId="{16DC00E2-A952-40DA-80FC-FB7DE864358D}" dt="2023-05-28T22:28:45.692" v="485" actId="47"/>
        <pc:sldMkLst>
          <pc:docMk/>
          <pc:sldMk cId="1332867480" sldId="3457"/>
        </pc:sldMkLst>
      </pc:sldChg>
      <pc:sldChg chg="del">
        <pc:chgData name="Elias Omondi" userId="5cf36897-38a5-4525-890a-89f27eb0c2d7" providerId="ADAL" clId="{16DC00E2-A952-40DA-80FC-FB7DE864358D}" dt="2023-05-28T22:28:48.739" v="486" actId="47"/>
        <pc:sldMkLst>
          <pc:docMk/>
          <pc:sldMk cId="3243134396" sldId="3458"/>
        </pc:sldMkLst>
      </pc:sldChg>
      <pc:sldChg chg="del">
        <pc:chgData name="Elias Omondi" userId="5cf36897-38a5-4525-890a-89f27eb0c2d7" providerId="ADAL" clId="{16DC00E2-A952-40DA-80FC-FB7DE864358D}" dt="2023-05-28T22:28:33.668" v="478" actId="47"/>
        <pc:sldMkLst>
          <pc:docMk/>
          <pc:sldMk cId="380280719" sldId="3461"/>
        </pc:sldMkLst>
      </pc:sldChg>
      <pc:sldChg chg="del">
        <pc:chgData name="Elias Omondi" userId="5cf36897-38a5-4525-890a-89f27eb0c2d7" providerId="ADAL" clId="{16DC00E2-A952-40DA-80FC-FB7DE864358D}" dt="2023-05-28T22:28:19.383" v="472" actId="47"/>
        <pc:sldMkLst>
          <pc:docMk/>
          <pc:sldMk cId="347107641" sldId="3463"/>
        </pc:sldMkLst>
      </pc:sldChg>
      <pc:sldChg chg="addSp delSp modSp mod">
        <pc:chgData name="Elias Omondi" userId="5cf36897-38a5-4525-890a-89f27eb0c2d7" providerId="ADAL" clId="{16DC00E2-A952-40DA-80FC-FB7DE864358D}" dt="2023-05-28T22:29:58.546" v="514" actId="1076"/>
        <pc:sldMkLst>
          <pc:docMk/>
          <pc:sldMk cId="3815923807" sldId="3464"/>
        </pc:sldMkLst>
        <pc:spChg chg="mod">
          <ac:chgData name="Elias Omondi" userId="5cf36897-38a5-4525-890a-89f27eb0c2d7" providerId="ADAL" clId="{16DC00E2-A952-40DA-80FC-FB7DE864358D}" dt="2023-05-28T22:29:14.925" v="505" actId="113"/>
          <ac:spMkLst>
            <pc:docMk/>
            <pc:sldMk cId="3815923807" sldId="3464"/>
            <ac:spMk id="2" creationId="{A0AC4660-E99D-10E5-02E2-A48D6B6A72F1}"/>
          </ac:spMkLst>
        </pc:spChg>
        <pc:picChg chg="add mod">
          <ac:chgData name="Elias Omondi" userId="5cf36897-38a5-4525-890a-89f27eb0c2d7" providerId="ADAL" clId="{16DC00E2-A952-40DA-80FC-FB7DE864358D}" dt="2023-05-28T22:29:58.546" v="514" actId="1076"/>
          <ac:picMkLst>
            <pc:docMk/>
            <pc:sldMk cId="3815923807" sldId="3464"/>
            <ac:picMk id="3" creationId="{5F659EC9-D1BB-4404-3290-1F4C6AD2A6C7}"/>
          </ac:picMkLst>
        </pc:picChg>
        <pc:picChg chg="del">
          <ac:chgData name="Elias Omondi" userId="5cf36897-38a5-4525-890a-89f27eb0c2d7" providerId="ADAL" clId="{16DC00E2-A952-40DA-80FC-FB7DE864358D}" dt="2023-05-28T22:29:19.006" v="506" actId="478"/>
          <ac:picMkLst>
            <pc:docMk/>
            <pc:sldMk cId="3815923807" sldId="3464"/>
            <ac:picMk id="9" creationId="{2C839654-F9D6-6294-CFAA-DAA1C15117C1}"/>
          </ac:picMkLst>
        </pc:picChg>
      </pc:sldChg>
      <pc:sldChg chg="del">
        <pc:chgData name="Elias Omondi" userId="5cf36897-38a5-4525-890a-89f27eb0c2d7" providerId="ADAL" clId="{16DC00E2-A952-40DA-80FC-FB7DE864358D}" dt="2023-05-28T22:28:06.425" v="469" actId="2696"/>
        <pc:sldMkLst>
          <pc:docMk/>
          <pc:sldMk cId="3506999618" sldId="3465"/>
        </pc:sldMkLst>
      </pc:sldChg>
      <pc:sldChg chg="del">
        <pc:chgData name="Elias Omondi" userId="5cf36897-38a5-4525-890a-89f27eb0c2d7" providerId="ADAL" clId="{16DC00E2-A952-40DA-80FC-FB7DE864358D}" dt="2023-05-28T22:28:37.550" v="479" actId="47"/>
        <pc:sldMkLst>
          <pc:docMk/>
          <pc:sldMk cId="1039126108" sldId="3466"/>
        </pc:sldMkLst>
      </pc:sldChg>
      <pc:sldChg chg="del">
        <pc:chgData name="Elias Omondi" userId="5cf36897-38a5-4525-890a-89f27eb0c2d7" providerId="ADAL" clId="{16DC00E2-A952-40DA-80FC-FB7DE864358D}" dt="2023-05-28T22:28:38.900" v="480" actId="47"/>
        <pc:sldMkLst>
          <pc:docMk/>
          <pc:sldMk cId="1214837310" sldId="3467"/>
        </pc:sldMkLst>
      </pc:sldChg>
      <pc:sldChg chg="addSp modSp mod">
        <pc:chgData name="Elias Omondi" userId="5cf36897-38a5-4525-890a-89f27eb0c2d7" providerId="ADAL" clId="{16DC00E2-A952-40DA-80FC-FB7DE864358D}" dt="2023-05-28T22:33:18.211" v="543" actId="1076"/>
        <pc:sldMkLst>
          <pc:docMk/>
          <pc:sldMk cId="1668917465" sldId="3468"/>
        </pc:sldMkLst>
        <pc:picChg chg="add mod">
          <ac:chgData name="Elias Omondi" userId="5cf36897-38a5-4525-890a-89f27eb0c2d7" providerId="ADAL" clId="{16DC00E2-A952-40DA-80FC-FB7DE864358D}" dt="2023-05-28T22:33:18.211" v="543" actId="1076"/>
          <ac:picMkLst>
            <pc:docMk/>
            <pc:sldMk cId="1668917465" sldId="3468"/>
            <ac:picMk id="2" creationId="{F9F654E1-F935-0BAC-F797-A2C610F345BB}"/>
          </ac:picMkLst>
        </pc:picChg>
        <pc:picChg chg="mod">
          <ac:chgData name="Elias Omondi" userId="5cf36897-38a5-4525-890a-89f27eb0c2d7" providerId="ADAL" clId="{16DC00E2-A952-40DA-80FC-FB7DE864358D}" dt="2023-05-28T21:38:49.857" v="69" actId="1076"/>
          <ac:picMkLst>
            <pc:docMk/>
            <pc:sldMk cId="1668917465" sldId="3468"/>
            <ac:picMk id="8" creationId="{4DE7F462-BB2E-1992-3628-A2BFEE1F5D91}"/>
          </ac:picMkLst>
        </pc:picChg>
      </pc:sldChg>
      <pc:sldChg chg="addSp delSp modSp new mod ord">
        <pc:chgData name="Elias Omondi" userId="5cf36897-38a5-4525-890a-89f27eb0c2d7" providerId="ADAL" clId="{16DC00E2-A952-40DA-80FC-FB7DE864358D}" dt="2023-05-28T22:34:42.865" v="563" actId="1076"/>
        <pc:sldMkLst>
          <pc:docMk/>
          <pc:sldMk cId="2061098178" sldId="3469"/>
        </pc:sldMkLst>
        <pc:spChg chg="del mod">
          <ac:chgData name="Elias Omondi" userId="5cf36897-38a5-4525-890a-89f27eb0c2d7" providerId="ADAL" clId="{16DC00E2-A952-40DA-80FC-FB7DE864358D}" dt="2023-05-28T21:40:11.098" v="93" actId="1032"/>
          <ac:spMkLst>
            <pc:docMk/>
            <pc:sldMk cId="2061098178" sldId="3469"/>
            <ac:spMk id="2" creationId="{EF9FBB01-E1CE-4418-36B3-29C0025788A9}"/>
          </ac:spMkLst>
        </pc:spChg>
        <pc:spChg chg="del mod">
          <ac:chgData name="Elias Omondi" userId="5cf36897-38a5-4525-890a-89f27eb0c2d7" providerId="ADAL" clId="{16DC00E2-A952-40DA-80FC-FB7DE864358D}" dt="2023-05-28T21:39:37.146" v="73" actId="478"/>
          <ac:spMkLst>
            <pc:docMk/>
            <pc:sldMk cId="2061098178" sldId="3469"/>
            <ac:spMk id="3" creationId="{8C825227-0B46-F50B-B22D-F1844B0747F7}"/>
          </ac:spMkLst>
        </pc:spChg>
        <pc:spChg chg="mod">
          <ac:chgData name="Elias Omondi" userId="5cf36897-38a5-4525-890a-89f27eb0c2d7" providerId="ADAL" clId="{16DC00E2-A952-40DA-80FC-FB7DE864358D}" dt="2023-05-28T21:59:02.807" v="174" actId="1076"/>
          <ac:spMkLst>
            <pc:docMk/>
            <pc:sldMk cId="2061098178" sldId="3469"/>
            <ac:spMk id="4" creationId="{34F681D5-939C-4BF3-CC58-1DB1217786AF}"/>
          </ac:spMkLst>
        </pc:spChg>
        <pc:spChg chg="del">
          <ac:chgData name="Elias Omondi" userId="5cf36897-38a5-4525-890a-89f27eb0c2d7" providerId="ADAL" clId="{16DC00E2-A952-40DA-80FC-FB7DE864358D}" dt="2023-05-28T21:39:42.996" v="75" actId="478"/>
          <ac:spMkLst>
            <pc:docMk/>
            <pc:sldMk cId="2061098178" sldId="3469"/>
            <ac:spMk id="5" creationId="{7A4D0FBF-41FC-6D9B-93A9-7084E9E31EE7}"/>
          </ac:spMkLst>
        </pc:spChg>
        <pc:graphicFrameChg chg="add mod modGraphic">
          <ac:chgData name="Elias Omondi" userId="5cf36897-38a5-4525-890a-89f27eb0c2d7" providerId="ADAL" clId="{16DC00E2-A952-40DA-80FC-FB7DE864358D}" dt="2023-05-28T21:58:59.933" v="173" actId="1076"/>
          <ac:graphicFrameMkLst>
            <pc:docMk/>
            <pc:sldMk cId="2061098178" sldId="3469"/>
            <ac:graphicFrameMk id="7" creationId="{10A9E568-06B4-426C-A4DE-ED4FAD48E2DB}"/>
          </ac:graphicFrameMkLst>
        </pc:graphicFrameChg>
        <pc:picChg chg="add mod">
          <ac:chgData name="Elias Omondi" userId="5cf36897-38a5-4525-890a-89f27eb0c2d7" providerId="ADAL" clId="{16DC00E2-A952-40DA-80FC-FB7DE864358D}" dt="2023-05-28T22:34:42.865" v="563" actId="1076"/>
          <ac:picMkLst>
            <pc:docMk/>
            <pc:sldMk cId="2061098178" sldId="3469"/>
            <ac:picMk id="8" creationId="{0D618557-3102-B1BA-F7BB-E7B086FA69A3}"/>
          </ac:picMkLst>
        </pc:picChg>
      </pc:sldChg>
      <pc:sldChg chg="addSp delSp modSp mod">
        <pc:chgData name="Elias Omondi" userId="5cf36897-38a5-4525-890a-89f27eb0c2d7" providerId="ADAL" clId="{16DC00E2-A952-40DA-80FC-FB7DE864358D}" dt="2023-05-28T22:33:34.924" v="547" actId="1076"/>
        <pc:sldMkLst>
          <pc:docMk/>
          <pc:sldMk cId="482996287" sldId="3470"/>
        </pc:sldMkLst>
        <pc:spChg chg="mod">
          <ac:chgData name="Elias Omondi" userId="5cf36897-38a5-4525-890a-89f27eb0c2d7" providerId="ADAL" clId="{16DC00E2-A952-40DA-80FC-FB7DE864358D}" dt="2023-05-28T21:56:38.623" v="167" actId="255"/>
          <ac:spMkLst>
            <pc:docMk/>
            <pc:sldMk cId="482996287" sldId="3470"/>
            <ac:spMk id="2" creationId="{A1D9899C-C200-0932-F8C3-91B85EE616A8}"/>
          </ac:spMkLst>
        </pc:spChg>
        <pc:spChg chg="del">
          <ac:chgData name="Elias Omondi" userId="5cf36897-38a5-4525-890a-89f27eb0c2d7" providerId="ADAL" clId="{16DC00E2-A952-40DA-80FC-FB7DE864358D}" dt="2023-05-28T21:51:45.574" v="132" actId="478"/>
          <ac:spMkLst>
            <pc:docMk/>
            <pc:sldMk cId="482996287" sldId="3470"/>
            <ac:spMk id="3" creationId="{0FB9372C-8201-09D4-B3FA-0AEAF4DF984F}"/>
          </ac:spMkLst>
        </pc:spChg>
        <pc:spChg chg="del">
          <ac:chgData name="Elias Omondi" userId="5cf36897-38a5-4525-890a-89f27eb0c2d7" providerId="ADAL" clId="{16DC00E2-A952-40DA-80FC-FB7DE864358D}" dt="2023-05-28T21:51:40.888" v="131" actId="478"/>
          <ac:spMkLst>
            <pc:docMk/>
            <pc:sldMk cId="482996287" sldId="3470"/>
            <ac:spMk id="5" creationId="{C0A4D178-FD36-E378-42AE-2BB8D569BE46}"/>
          </ac:spMkLst>
        </pc:spChg>
        <pc:picChg chg="add mod">
          <ac:chgData name="Elias Omondi" userId="5cf36897-38a5-4525-890a-89f27eb0c2d7" providerId="ADAL" clId="{16DC00E2-A952-40DA-80FC-FB7DE864358D}" dt="2023-05-28T22:33:34.924" v="547" actId="1076"/>
          <ac:picMkLst>
            <pc:docMk/>
            <pc:sldMk cId="482996287" sldId="3470"/>
            <ac:picMk id="7" creationId="{333E31B5-36E7-4128-2436-C5EACE3BBCCB}"/>
          </ac:picMkLst>
        </pc:picChg>
      </pc:sldChg>
      <pc:sldChg chg="modSp del mod">
        <pc:chgData name="Elias Omondi" userId="5cf36897-38a5-4525-890a-89f27eb0c2d7" providerId="ADAL" clId="{16DC00E2-A952-40DA-80FC-FB7DE864358D}" dt="2023-05-28T21:56:49.557" v="168" actId="47"/>
        <pc:sldMkLst>
          <pc:docMk/>
          <pc:sldMk cId="1305658143" sldId="4573"/>
        </pc:sldMkLst>
        <pc:spChg chg="mod">
          <ac:chgData name="Elias Omondi" userId="5cf36897-38a5-4525-890a-89f27eb0c2d7" providerId="ADAL" clId="{16DC00E2-A952-40DA-80FC-FB7DE864358D}" dt="2023-05-28T21:52:03.912" v="134" actId="255"/>
          <ac:spMkLst>
            <pc:docMk/>
            <pc:sldMk cId="1305658143" sldId="4573"/>
            <ac:spMk id="10" creationId="{FB958A30-F76B-2748-CDEE-1BEEC4C35A4A}"/>
          </ac:spMkLst>
        </pc:spChg>
        <pc:graphicFrameChg chg="mod">
          <ac:chgData name="Elias Omondi" userId="5cf36897-38a5-4525-890a-89f27eb0c2d7" providerId="ADAL" clId="{16DC00E2-A952-40DA-80FC-FB7DE864358D}" dt="2023-05-28T21:55:00.196" v="158" actId="1076"/>
          <ac:graphicFrameMkLst>
            <pc:docMk/>
            <pc:sldMk cId="1305658143" sldId="4573"/>
            <ac:graphicFrameMk id="9" creationId="{515BE739-EC5D-65A6-89CB-D129B9E85F42}"/>
          </ac:graphicFrameMkLst>
        </pc:graphicFrameChg>
      </pc:sldChg>
      <pc:sldChg chg="delSp modSp add del mod ord">
        <pc:chgData name="Elias Omondi" userId="5cf36897-38a5-4525-890a-89f27eb0c2d7" providerId="ADAL" clId="{16DC00E2-A952-40DA-80FC-FB7DE864358D}" dt="2023-05-28T22:26:49.808" v="462" actId="2696"/>
        <pc:sldMkLst>
          <pc:docMk/>
          <pc:sldMk cId="3795321389" sldId="4574"/>
        </pc:sldMkLst>
        <pc:spChg chg="del">
          <ac:chgData name="Elias Omondi" userId="5cf36897-38a5-4525-890a-89f27eb0c2d7" providerId="ADAL" clId="{16DC00E2-A952-40DA-80FC-FB7DE864358D}" dt="2023-05-28T21:52:43.839" v="140" actId="478"/>
          <ac:spMkLst>
            <pc:docMk/>
            <pc:sldMk cId="3795321389" sldId="4574"/>
            <ac:spMk id="10" creationId="{D59A1421-562F-4CD2-9367-F33C5BFB3F02}"/>
          </ac:spMkLst>
        </pc:spChg>
        <pc:spChg chg="mod">
          <ac:chgData name="Elias Omondi" userId="5cf36897-38a5-4525-890a-89f27eb0c2d7" providerId="ADAL" clId="{16DC00E2-A952-40DA-80FC-FB7DE864358D}" dt="2023-05-28T21:52:49.193" v="141" actId="20577"/>
          <ac:spMkLst>
            <pc:docMk/>
            <pc:sldMk cId="3795321389" sldId="4574"/>
            <ac:spMk id="19" creationId="{C86353CD-30B8-4A92-8B94-A93D98CC3A73}"/>
          </ac:spMkLst>
        </pc:spChg>
        <pc:graphicFrameChg chg="del modGraphic">
          <ac:chgData name="Elias Omondi" userId="5cf36897-38a5-4525-890a-89f27eb0c2d7" providerId="ADAL" clId="{16DC00E2-A952-40DA-80FC-FB7DE864358D}" dt="2023-05-28T21:52:40.671" v="139" actId="478"/>
          <ac:graphicFrameMkLst>
            <pc:docMk/>
            <pc:sldMk cId="3795321389" sldId="4574"/>
            <ac:graphicFrameMk id="11" creationId="{352A533F-19E2-4803-B1E3-E12D53847BD2}"/>
          </ac:graphicFrameMkLst>
        </pc:graphicFrameChg>
      </pc:sldChg>
      <pc:sldChg chg="addSp delSp modSp new mod ord">
        <pc:chgData name="Elias Omondi" userId="5cf36897-38a5-4525-890a-89f27eb0c2d7" providerId="ADAL" clId="{16DC00E2-A952-40DA-80FC-FB7DE864358D}" dt="2023-05-28T22:34:07.722" v="554" actId="1076"/>
        <pc:sldMkLst>
          <pc:docMk/>
          <pc:sldMk cId="3149223680" sldId="4575"/>
        </pc:sldMkLst>
        <pc:spChg chg="del">
          <ac:chgData name="Elias Omondi" userId="5cf36897-38a5-4525-890a-89f27eb0c2d7" providerId="ADAL" clId="{16DC00E2-A952-40DA-80FC-FB7DE864358D}" dt="2023-05-28T21:53:07.375" v="145" actId="478"/>
          <ac:spMkLst>
            <pc:docMk/>
            <pc:sldMk cId="3149223680" sldId="4575"/>
            <ac:spMk id="2" creationId="{FB57213A-F2C1-2199-ECD9-53FA52444503}"/>
          </ac:spMkLst>
        </pc:spChg>
        <pc:spChg chg="del">
          <ac:chgData name="Elias Omondi" userId="5cf36897-38a5-4525-890a-89f27eb0c2d7" providerId="ADAL" clId="{16DC00E2-A952-40DA-80FC-FB7DE864358D}" dt="2023-05-28T21:53:12.626" v="147" actId="478"/>
          <ac:spMkLst>
            <pc:docMk/>
            <pc:sldMk cId="3149223680" sldId="4575"/>
            <ac:spMk id="3" creationId="{F60EC24B-0A98-AA3F-3F7B-9B4912AB3F25}"/>
          </ac:spMkLst>
        </pc:spChg>
        <pc:spChg chg="del">
          <ac:chgData name="Elias Omondi" userId="5cf36897-38a5-4525-890a-89f27eb0c2d7" providerId="ADAL" clId="{16DC00E2-A952-40DA-80FC-FB7DE864358D}" dt="2023-05-28T21:53:10.472" v="146" actId="478"/>
          <ac:spMkLst>
            <pc:docMk/>
            <pc:sldMk cId="3149223680" sldId="4575"/>
            <ac:spMk id="4" creationId="{60B6D302-4EC1-80EF-DA91-E951D4F521A9}"/>
          </ac:spMkLst>
        </pc:spChg>
        <pc:spChg chg="del">
          <ac:chgData name="Elias Omondi" userId="5cf36897-38a5-4525-890a-89f27eb0c2d7" providerId="ADAL" clId="{16DC00E2-A952-40DA-80FC-FB7DE864358D}" dt="2023-05-28T21:55:11.471" v="159"/>
          <ac:spMkLst>
            <pc:docMk/>
            <pc:sldMk cId="3149223680" sldId="4575"/>
            <ac:spMk id="5" creationId="{A441E957-3C90-5C05-ECDA-8A0EDD1646DA}"/>
          </ac:spMkLst>
        </pc:spChg>
        <pc:spChg chg="add mod">
          <ac:chgData name="Elias Omondi" userId="5cf36897-38a5-4525-890a-89f27eb0c2d7" providerId="ADAL" clId="{16DC00E2-A952-40DA-80FC-FB7DE864358D}" dt="2023-05-28T22:33:58.159" v="552" actId="14100"/>
          <ac:spMkLst>
            <pc:docMk/>
            <pc:sldMk cId="3149223680" sldId="4575"/>
            <ac:spMk id="13" creationId="{CA957254-74B9-E7D9-4CF4-8736B54DBCD1}"/>
          </ac:spMkLst>
        </pc:spChg>
        <pc:spChg chg="add mod">
          <ac:chgData name="Elias Omondi" userId="5cf36897-38a5-4525-890a-89f27eb0c2d7" providerId="ADAL" clId="{16DC00E2-A952-40DA-80FC-FB7DE864358D}" dt="2023-05-28T21:56:24.087" v="166"/>
          <ac:spMkLst>
            <pc:docMk/>
            <pc:sldMk cId="3149223680" sldId="4575"/>
            <ac:spMk id="15" creationId="{86FF5A5A-FDB2-7C8E-4E65-7397F69F61C7}"/>
          </ac:spMkLst>
        </pc:spChg>
        <pc:graphicFrameChg chg="add del mod">
          <ac:chgData name="Elias Omondi" userId="5cf36897-38a5-4525-890a-89f27eb0c2d7" providerId="ADAL" clId="{16DC00E2-A952-40DA-80FC-FB7DE864358D}" dt="2023-05-28T21:53:46.458" v="150" actId="478"/>
          <ac:graphicFrameMkLst>
            <pc:docMk/>
            <pc:sldMk cId="3149223680" sldId="4575"/>
            <ac:graphicFrameMk id="7" creationId="{0117EF85-0247-B49D-3ED4-D94DC3541002}"/>
          </ac:graphicFrameMkLst>
        </pc:graphicFrameChg>
        <pc:graphicFrameChg chg="add mod">
          <ac:chgData name="Elias Omondi" userId="5cf36897-38a5-4525-890a-89f27eb0c2d7" providerId="ADAL" clId="{16DC00E2-A952-40DA-80FC-FB7DE864358D}" dt="2023-05-28T21:53:53.248" v="151"/>
          <ac:graphicFrameMkLst>
            <pc:docMk/>
            <pc:sldMk cId="3149223680" sldId="4575"/>
            <ac:graphicFrameMk id="8" creationId="{B8F7CE4B-FD6A-2D30-A1C3-A9BC95FA2FB2}"/>
          </ac:graphicFrameMkLst>
        </pc:graphicFrameChg>
        <pc:picChg chg="add mod">
          <ac:chgData name="Elias Omondi" userId="5cf36897-38a5-4525-890a-89f27eb0c2d7" providerId="ADAL" clId="{16DC00E2-A952-40DA-80FC-FB7DE864358D}" dt="2023-05-28T21:54:07.416" v="153"/>
          <ac:picMkLst>
            <pc:docMk/>
            <pc:sldMk cId="3149223680" sldId="4575"/>
            <ac:picMk id="9" creationId="{CD2A2AAA-5CCB-14CC-2FB3-742C3633DE56}"/>
          </ac:picMkLst>
        </pc:picChg>
        <pc:picChg chg="add mod">
          <ac:chgData name="Elias Omondi" userId="5cf36897-38a5-4525-890a-89f27eb0c2d7" providerId="ADAL" clId="{16DC00E2-A952-40DA-80FC-FB7DE864358D}" dt="2023-05-28T21:54:17.599" v="154"/>
          <ac:picMkLst>
            <pc:docMk/>
            <pc:sldMk cId="3149223680" sldId="4575"/>
            <ac:picMk id="10" creationId="{9C2E2656-C27C-7CBD-30C1-41CC29F6CE43}"/>
          </ac:picMkLst>
        </pc:picChg>
        <pc:picChg chg="add mod">
          <ac:chgData name="Elias Omondi" userId="5cf36897-38a5-4525-890a-89f27eb0c2d7" providerId="ADAL" clId="{16DC00E2-A952-40DA-80FC-FB7DE864358D}" dt="2023-05-28T21:54:28.267" v="155"/>
          <ac:picMkLst>
            <pc:docMk/>
            <pc:sldMk cId="3149223680" sldId="4575"/>
            <ac:picMk id="11" creationId="{9A21DAEB-40F3-4B47-1B22-31530EF329DC}"/>
          </ac:picMkLst>
        </pc:picChg>
        <pc:picChg chg="add mod">
          <ac:chgData name="Elias Omondi" userId="5cf36897-38a5-4525-890a-89f27eb0c2d7" providerId="ADAL" clId="{16DC00E2-A952-40DA-80FC-FB7DE864358D}" dt="2023-05-28T22:34:03.396" v="553" actId="14100"/>
          <ac:picMkLst>
            <pc:docMk/>
            <pc:sldMk cId="3149223680" sldId="4575"/>
            <ac:picMk id="12" creationId="{F4220B05-FD52-9FD0-CBD2-CB25346DFEBA}"/>
          </ac:picMkLst>
        </pc:picChg>
        <pc:picChg chg="add mod">
          <ac:chgData name="Elias Omondi" userId="5cf36897-38a5-4525-890a-89f27eb0c2d7" providerId="ADAL" clId="{16DC00E2-A952-40DA-80FC-FB7DE864358D}" dt="2023-05-28T22:34:07.722" v="554" actId="1076"/>
          <ac:picMkLst>
            <pc:docMk/>
            <pc:sldMk cId="3149223680" sldId="4575"/>
            <ac:picMk id="16" creationId="{80C18234-8807-92CE-A1C1-DE97F6FE7516}"/>
          </ac:picMkLst>
        </pc:picChg>
        <pc:cxnChg chg="add mod">
          <ac:chgData name="Elias Omondi" userId="5cf36897-38a5-4525-890a-89f27eb0c2d7" providerId="ADAL" clId="{16DC00E2-A952-40DA-80FC-FB7DE864358D}" dt="2023-05-28T21:56:06.449" v="164" actId="1076"/>
          <ac:cxnSpMkLst>
            <pc:docMk/>
            <pc:sldMk cId="3149223680" sldId="4575"/>
            <ac:cxnSpMk id="14" creationId="{FA9F9769-6201-CE77-36A9-E2253E14DEA5}"/>
          </ac:cxnSpMkLst>
        </pc:cxnChg>
      </pc:sldChg>
      <pc:sldChg chg="addSp delSp modSp mod">
        <pc:chgData name="Elias Omondi" userId="5cf36897-38a5-4525-890a-89f27eb0c2d7" providerId="ADAL" clId="{16DC00E2-A952-40DA-80FC-FB7DE864358D}" dt="2023-05-28T22:34:31.370" v="560" actId="1076"/>
        <pc:sldMkLst>
          <pc:docMk/>
          <pc:sldMk cId="4097729263" sldId="4576"/>
        </pc:sldMkLst>
        <pc:spChg chg="del">
          <ac:chgData name="Elias Omondi" userId="5cf36897-38a5-4525-890a-89f27eb0c2d7" providerId="ADAL" clId="{16DC00E2-A952-40DA-80FC-FB7DE864358D}" dt="2023-05-28T21:58:38.535" v="171" actId="478"/>
          <ac:spMkLst>
            <pc:docMk/>
            <pc:sldMk cId="4097729263" sldId="4576"/>
            <ac:spMk id="3" creationId="{EB0B711B-011B-3346-8457-39F5877F3632}"/>
          </ac:spMkLst>
        </pc:spChg>
        <pc:spChg chg="add del mod">
          <ac:chgData name="Elias Omondi" userId="5cf36897-38a5-4525-890a-89f27eb0c2d7" providerId="ADAL" clId="{16DC00E2-A952-40DA-80FC-FB7DE864358D}" dt="2023-05-28T21:58:41.850" v="172" actId="478"/>
          <ac:spMkLst>
            <pc:docMk/>
            <pc:sldMk cId="4097729263" sldId="4576"/>
            <ac:spMk id="24" creationId="{A19AED12-B339-D4E0-FB25-10C031B1345B}"/>
          </ac:spMkLst>
        </pc:spChg>
        <pc:spChg chg="mod">
          <ac:chgData name="Elias Omondi" userId="5cf36897-38a5-4525-890a-89f27eb0c2d7" providerId="ADAL" clId="{16DC00E2-A952-40DA-80FC-FB7DE864358D}" dt="2023-05-28T22:34:31.370" v="560" actId="1076"/>
          <ac:spMkLst>
            <pc:docMk/>
            <pc:sldMk cId="4097729263" sldId="4576"/>
            <ac:spMk id="56" creationId="{04CC8C67-5D34-2B4A-8D4D-1F6BF6118A69}"/>
          </ac:spMkLst>
        </pc:spChg>
        <pc:picChg chg="add mod">
          <ac:chgData name="Elias Omondi" userId="5cf36897-38a5-4525-890a-89f27eb0c2d7" providerId="ADAL" clId="{16DC00E2-A952-40DA-80FC-FB7DE864358D}" dt="2023-05-28T22:34:22.426" v="558" actId="1076"/>
          <ac:picMkLst>
            <pc:docMk/>
            <pc:sldMk cId="4097729263" sldId="4576"/>
            <ac:picMk id="27" creationId="{82575185-B3E8-74D5-6C37-DC507205E312}"/>
          </ac:picMkLst>
        </pc:picChg>
      </pc:sldChg>
      <pc:sldChg chg="addSp delSp modSp new mod">
        <pc:chgData name="Elias Omondi" userId="5cf36897-38a5-4525-890a-89f27eb0c2d7" providerId="ADAL" clId="{16DC00E2-A952-40DA-80FC-FB7DE864358D}" dt="2023-05-28T22:24:18.179" v="445" actId="1076"/>
        <pc:sldMkLst>
          <pc:docMk/>
          <pc:sldMk cId="531184472" sldId="4577"/>
        </pc:sldMkLst>
        <pc:spChg chg="del">
          <ac:chgData name="Elias Omondi" userId="5cf36897-38a5-4525-890a-89f27eb0c2d7" providerId="ADAL" clId="{16DC00E2-A952-40DA-80FC-FB7DE864358D}" dt="2023-05-28T22:23:54.975" v="437" actId="478"/>
          <ac:spMkLst>
            <pc:docMk/>
            <pc:sldMk cId="531184472" sldId="4577"/>
            <ac:spMk id="2" creationId="{798CC3EC-C026-CF86-6B95-D953B55022B1}"/>
          </ac:spMkLst>
        </pc:spChg>
        <pc:spChg chg="del">
          <ac:chgData name="Elias Omondi" userId="5cf36897-38a5-4525-890a-89f27eb0c2d7" providerId="ADAL" clId="{16DC00E2-A952-40DA-80FC-FB7DE864358D}" dt="2023-05-28T22:23:57.394" v="438" actId="478"/>
          <ac:spMkLst>
            <pc:docMk/>
            <pc:sldMk cId="531184472" sldId="4577"/>
            <ac:spMk id="3" creationId="{0FB9E095-BDCD-4104-BFA0-6BDBF9257656}"/>
          </ac:spMkLst>
        </pc:spChg>
        <pc:picChg chg="add mod">
          <ac:chgData name="Elias Omondi" userId="5cf36897-38a5-4525-890a-89f27eb0c2d7" providerId="ADAL" clId="{16DC00E2-A952-40DA-80FC-FB7DE864358D}" dt="2023-05-28T22:24:18.179" v="445" actId="1076"/>
          <ac:picMkLst>
            <pc:docMk/>
            <pc:sldMk cId="531184472" sldId="4577"/>
            <ac:picMk id="7" creationId="{7B8837FB-F403-AA6B-6BDE-EE9B028C49CE}"/>
          </ac:picMkLst>
        </pc:picChg>
      </pc:sldChg>
      <pc:sldChg chg="addSp delSp modSp new mod">
        <pc:chgData name="Elias Omondi" userId="5cf36897-38a5-4525-890a-89f27eb0c2d7" providerId="ADAL" clId="{16DC00E2-A952-40DA-80FC-FB7DE864358D}" dt="2023-05-28T22:26:32.123" v="461" actId="14100"/>
        <pc:sldMkLst>
          <pc:docMk/>
          <pc:sldMk cId="4049049803" sldId="4578"/>
        </pc:sldMkLst>
        <pc:spChg chg="del">
          <ac:chgData name="Elias Omondi" userId="5cf36897-38a5-4525-890a-89f27eb0c2d7" providerId="ADAL" clId="{16DC00E2-A952-40DA-80FC-FB7DE864358D}" dt="2023-05-28T22:24:28.736" v="447" actId="478"/>
          <ac:spMkLst>
            <pc:docMk/>
            <pc:sldMk cId="4049049803" sldId="4578"/>
            <ac:spMk id="2" creationId="{CC65F309-B2CA-9CA0-D751-4911A09C26C9}"/>
          </ac:spMkLst>
        </pc:spChg>
        <pc:spChg chg="del">
          <ac:chgData name="Elias Omondi" userId="5cf36897-38a5-4525-890a-89f27eb0c2d7" providerId="ADAL" clId="{16DC00E2-A952-40DA-80FC-FB7DE864358D}" dt="2023-05-28T22:24:31.204" v="448" actId="478"/>
          <ac:spMkLst>
            <pc:docMk/>
            <pc:sldMk cId="4049049803" sldId="4578"/>
            <ac:spMk id="3" creationId="{A9C77A44-3FB3-A8F3-B189-7A15408B5D32}"/>
          </ac:spMkLst>
        </pc:spChg>
        <pc:picChg chg="add mod modCrop">
          <ac:chgData name="Elias Omondi" userId="5cf36897-38a5-4525-890a-89f27eb0c2d7" providerId="ADAL" clId="{16DC00E2-A952-40DA-80FC-FB7DE864358D}" dt="2023-05-28T22:26:32.123" v="461" actId="14100"/>
          <ac:picMkLst>
            <pc:docMk/>
            <pc:sldMk cId="4049049803" sldId="4578"/>
            <ac:picMk id="7" creationId="{7A338325-3D2D-ED25-110B-BD520B932D18}"/>
          </ac:picMkLst>
        </pc:picChg>
      </pc:sldChg>
      <pc:sldChg chg="add del">
        <pc:chgData name="Elias Omondi" userId="5cf36897-38a5-4525-890a-89f27eb0c2d7" providerId="ADAL" clId="{16DC00E2-A952-40DA-80FC-FB7DE864358D}" dt="2023-05-28T22:28:22.943" v="473" actId="47"/>
        <pc:sldMkLst>
          <pc:docMk/>
          <pc:sldMk cId="4259677345" sldId="4579"/>
        </pc:sldMkLst>
      </pc:sldChg>
      <pc:sldMasterChg chg="delSldLayout">
        <pc:chgData name="Elias Omondi" userId="5cf36897-38a5-4525-890a-89f27eb0c2d7" providerId="ADAL" clId="{16DC00E2-A952-40DA-80FC-FB7DE864358D}" dt="2023-05-28T21:56:49.557" v="168" actId="47"/>
        <pc:sldMasterMkLst>
          <pc:docMk/>
          <pc:sldMasterMk cId="496728438" sldId="2147483702"/>
        </pc:sldMasterMkLst>
        <pc:sldLayoutChg chg="del">
          <pc:chgData name="Elias Omondi" userId="5cf36897-38a5-4525-890a-89f27eb0c2d7" providerId="ADAL" clId="{16DC00E2-A952-40DA-80FC-FB7DE864358D}" dt="2023-05-28T21:56:49.557" v="168" actId="47"/>
          <pc:sldLayoutMkLst>
            <pc:docMk/>
            <pc:sldMasterMk cId="496728438" sldId="2147483702"/>
            <pc:sldLayoutMk cId="753930107" sldId="2147483774"/>
          </pc:sldLayoutMkLst>
        </pc:sldLayoutChg>
      </pc:sldMaster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150D8BE-4410-4682-A721-D020EC572A6C}" type="doc">
      <dgm:prSet loTypeId="urn:microsoft.com/office/officeart/2005/8/layout/list1" loCatId="list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KE"/>
        </a:p>
      </dgm:t>
    </dgm:pt>
    <dgm:pt modelId="{F3B53E7E-7135-4BA9-8292-23FC21980600}">
      <dgm:prSet phldrT="[Text]" custT="1"/>
      <dgm:spPr/>
      <dgm:t>
        <a:bodyPr/>
        <a:lstStyle/>
        <a:p>
          <a:r>
            <a:rPr lang="de-DE" sz="1600" dirty="0"/>
            <a:t>Understanding Risk</a:t>
          </a:r>
          <a:endParaRPr lang="en-KE" sz="1600" dirty="0"/>
        </a:p>
      </dgm:t>
    </dgm:pt>
    <dgm:pt modelId="{6634DF5A-330F-4DA5-9302-509DBBDFEEBB}" type="parTrans" cxnId="{8ACDED4C-9F56-4C58-B92F-13DBA2C133B5}">
      <dgm:prSet/>
      <dgm:spPr/>
      <dgm:t>
        <a:bodyPr/>
        <a:lstStyle/>
        <a:p>
          <a:endParaRPr lang="en-KE"/>
        </a:p>
      </dgm:t>
    </dgm:pt>
    <dgm:pt modelId="{65E9DD7C-8AEA-4703-9173-D2ED0D08949D}" type="sibTrans" cxnId="{8ACDED4C-9F56-4C58-B92F-13DBA2C133B5}">
      <dgm:prSet/>
      <dgm:spPr/>
      <dgm:t>
        <a:bodyPr/>
        <a:lstStyle/>
        <a:p>
          <a:endParaRPr lang="en-KE"/>
        </a:p>
      </dgm:t>
    </dgm:pt>
    <dgm:pt modelId="{7EA57229-F8A7-4ABF-AEE9-48EB1079ADFB}">
      <dgm:prSet phldrT="[Text]" custT="1"/>
      <dgm:spPr/>
      <dgm:t>
        <a:bodyPr/>
        <a:lstStyle/>
        <a:p>
          <a:r>
            <a:rPr lang="de-DE" sz="1600" dirty="0"/>
            <a:t>Mitigating Risk</a:t>
          </a:r>
          <a:endParaRPr lang="en-KE" sz="1600" dirty="0"/>
        </a:p>
      </dgm:t>
    </dgm:pt>
    <dgm:pt modelId="{EC01BF26-344D-481E-A747-2A7C0B08352B}" type="parTrans" cxnId="{6CA7C0AC-BEC0-422A-90D0-4AC8309DF001}">
      <dgm:prSet/>
      <dgm:spPr/>
      <dgm:t>
        <a:bodyPr/>
        <a:lstStyle/>
        <a:p>
          <a:endParaRPr lang="en-KE"/>
        </a:p>
      </dgm:t>
    </dgm:pt>
    <dgm:pt modelId="{FAC796A3-07F5-46D0-8848-1850F0BA41E4}" type="sibTrans" cxnId="{6CA7C0AC-BEC0-422A-90D0-4AC8309DF001}">
      <dgm:prSet/>
      <dgm:spPr/>
      <dgm:t>
        <a:bodyPr/>
        <a:lstStyle/>
        <a:p>
          <a:endParaRPr lang="en-KE"/>
        </a:p>
      </dgm:t>
    </dgm:pt>
    <dgm:pt modelId="{501F36AE-002A-4624-AC9B-86407777864C}">
      <dgm:prSet phldrT="[Text]" custT="1"/>
      <dgm:spPr/>
      <dgm:t>
        <a:bodyPr/>
        <a:lstStyle/>
        <a:p>
          <a:r>
            <a:rPr lang="de-DE" sz="1600" dirty="0"/>
            <a:t>Supporting Sustainable Development</a:t>
          </a:r>
          <a:endParaRPr lang="en-KE" sz="1600" dirty="0"/>
        </a:p>
      </dgm:t>
    </dgm:pt>
    <dgm:pt modelId="{0B2B142C-3966-45CD-83A5-C00C1F145843}" type="parTrans" cxnId="{B76E381C-0D35-41D0-B16B-FD8AD9CE6C5D}">
      <dgm:prSet/>
      <dgm:spPr/>
      <dgm:t>
        <a:bodyPr/>
        <a:lstStyle/>
        <a:p>
          <a:endParaRPr lang="en-KE"/>
        </a:p>
      </dgm:t>
    </dgm:pt>
    <dgm:pt modelId="{7F0490F9-F771-4E6A-9329-6174BDAF7C3B}" type="sibTrans" cxnId="{B76E381C-0D35-41D0-B16B-FD8AD9CE6C5D}">
      <dgm:prSet/>
      <dgm:spPr/>
      <dgm:t>
        <a:bodyPr/>
        <a:lstStyle/>
        <a:p>
          <a:endParaRPr lang="en-KE"/>
        </a:p>
      </dgm:t>
    </dgm:pt>
    <dgm:pt modelId="{D2A43B35-1184-4D75-A0AE-248846D58403}">
      <dgm:prSet phldrT="[Text]" custT="1"/>
      <dgm:spPr/>
      <dgm:t>
        <a:bodyPr/>
        <a:lstStyle/>
        <a:p>
          <a:r>
            <a:rPr lang="en-GB" sz="1600" dirty="0"/>
            <a:t>The insurance industry is uniquely positioned to understand and assess risk, making it a powerful tool for promoting sustainability.</a:t>
          </a:r>
          <a:endParaRPr lang="en-KE" sz="1600" dirty="0"/>
        </a:p>
      </dgm:t>
    </dgm:pt>
    <dgm:pt modelId="{8B808D5C-DDB0-4F47-8381-928DAF5D3EF6}" type="parTrans" cxnId="{B6252365-8802-4CBF-9B3F-469C2623F07E}">
      <dgm:prSet/>
      <dgm:spPr/>
      <dgm:t>
        <a:bodyPr/>
        <a:lstStyle/>
        <a:p>
          <a:endParaRPr lang="en-KE"/>
        </a:p>
      </dgm:t>
    </dgm:pt>
    <dgm:pt modelId="{BC19ED7C-F04A-42DC-A52D-20D9AE7BB124}" type="sibTrans" cxnId="{B6252365-8802-4CBF-9B3F-469C2623F07E}">
      <dgm:prSet/>
      <dgm:spPr/>
      <dgm:t>
        <a:bodyPr/>
        <a:lstStyle/>
        <a:p>
          <a:endParaRPr lang="en-KE"/>
        </a:p>
      </dgm:t>
    </dgm:pt>
    <dgm:pt modelId="{588439A2-961D-498A-9D31-74FD172AD647}">
      <dgm:prSet phldrT="[Text]" custT="1"/>
      <dgm:spPr/>
      <dgm:t>
        <a:bodyPr/>
        <a:lstStyle/>
        <a:p>
          <a:r>
            <a:rPr lang="en-GB" sz="1600" dirty="0"/>
            <a:t> Insurers in Africa can encourage sustainability by offering lower premiums to clients who adopt environmentally-friendly practices or invest in renewable energy.</a:t>
          </a:r>
          <a:endParaRPr lang="en-KE" sz="1600" dirty="0"/>
        </a:p>
      </dgm:t>
    </dgm:pt>
    <dgm:pt modelId="{F4363E50-E4C2-4547-84BB-4D363082C566}" type="parTrans" cxnId="{36A6A8D3-0554-4162-B2C7-7E1B54A8ADA0}">
      <dgm:prSet/>
      <dgm:spPr/>
      <dgm:t>
        <a:bodyPr/>
        <a:lstStyle/>
        <a:p>
          <a:endParaRPr lang="en-KE"/>
        </a:p>
      </dgm:t>
    </dgm:pt>
    <dgm:pt modelId="{70191EA9-8D87-4DA7-A80F-B9EE55F1A755}" type="sibTrans" cxnId="{36A6A8D3-0554-4162-B2C7-7E1B54A8ADA0}">
      <dgm:prSet/>
      <dgm:spPr/>
      <dgm:t>
        <a:bodyPr/>
        <a:lstStyle/>
        <a:p>
          <a:endParaRPr lang="en-KE"/>
        </a:p>
      </dgm:t>
    </dgm:pt>
    <dgm:pt modelId="{F3D190EB-D688-4E6F-9D57-F96D7F6CC944}">
      <dgm:prSet phldrT="[Text]" custT="1"/>
      <dgm:spPr/>
      <dgm:t>
        <a:bodyPr/>
        <a:lstStyle/>
        <a:p>
          <a:r>
            <a:rPr lang="de-DE" sz="1600" dirty="0"/>
            <a:t>Encouraging Resilience</a:t>
          </a:r>
          <a:endParaRPr lang="en-KE" sz="1600" dirty="0"/>
        </a:p>
      </dgm:t>
    </dgm:pt>
    <dgm:pt modelId="{A69E8343-4FB4-4CE2-9F2E-2B56F536ECDD}" type="parTrans" cxnId="{98D10945-7436-4712-A56E-AC94FC2899EB}">
      <dgm:prSet/>
      <dgm:spPr/>
      <dgm:t>
        <a:bodyPr/>
        <a:lstStyle/>
        <a:p>
          <a:endParaRPr lang="en-KE"/>
        </a:p>
      </dgm:t>
    </dgm:pt>
    <dgm:pt modelId="{EE3163D7-6659-4328-B5F7-5F9C8594FB97}" type="sibTrans" cxnId="{98D10945-7436-4712-A56E-AC94FC2899EB}">
      <dgm:prSet/>
      <dgm:spPr/>
      <dgm:t>
        <a:bodyPr/>
        <a:lstStyle/>
        <a:p>
          <a:endParaRPr lang="en-KE"/>
        </a:p>
      </dgm:t>
    </dgm:pt>
    <dgm:pt modelId="{013A32BC-954F-46B5-8BFE-9F7E93E768B1}">
      <dgm:prSet phldrT="[Text]" custT="1"/>
      <dgm:spPr/>
      <dgm:t>
        <a:bodyPr/>
        <a:lstStyle/>
        <a:p>
          <a:r>
            <a:rPr lang="en-GB" sz="1600" dirty="0"/>
            <a:t> Insurers can support sustainable development by investing in green bonds, which finance environmentally-friendly projects.</a:t>
          </a:r>
          <a:endParaRPr lang="en-KE" sz="1600" dirty="0"/>
        </a:p>
      </dgm:t>
    </dgm:pt>
    <dgm:pt modelId="{44541A8D-203B-4E67-AFFA-800809CE8D15}" type="parTrans" cxnId="{CFDC7AD6-69F6-46AB-9B20-927929268AAD}">
      <dgm:prSet/>
      <dgm:spPr/>
      <dgm:t>
        <a:bodyPr/>
        <a:lstStyle/>
        <a:p>
          <a:endParaRPr lang="en-KE"/>
        </a:p>
      </dgm:t>
    </dgm:pt>
    <dgm:pt modelId="{6F13551D-E48F-4C16-8620-177BAEEB7B1D}" type="sibTrans" cxnId="{CFDC7AD6-69F6-46AB-9B20-927929268AAD}">
      <dgm:prSet/>
      <dgm:spPr/>
      <dgm:t>
        <a:bodyPr/>
        <a:lstStyle/>
        <a:p>
          <a:endParaRPr lang="en-KE"/>
        </a:p>
      </dgm:t>
    </dgm:pt>
    <dgm:pt modelId="{E0098982-E4DA-4A53-B1D4-B9D0375A93DB}">
      <dgm:prSet phldrT="[Text]" custT="1"/>
      <dgm:spPr/>
      <dgm:t>
        <a:bodyPr/>
        <a:lstStyle/>
        <a:p>
          <a:r>
            <a:rPr lang="de-DE" sz="1600" dirty="0"/>
            <a:t>Being a Role Model</a:t>
          </a:r>
          <a:endParaRPr lang="en-KE" sz="1600" dirty="0"/>
        </a:p>
      </dgm:t>
    </dgm:pt>
    <dgm:pt modelId="{FC4CEF09-436A-4518-8B14-08B80720A9C8}" type="parTrans" cxnId="{FC187C10-FE32-40E1-87BF-63E5EB19A9B8}">
      <dgm:prSet/>
      <dgm:spPr/>
      <dgm:t>
        <a:bodyPr/>
        <a:lstStyle/>
        <a:p>
          <a:endParaRPr lang="en-KE"/>
        </a:p>
      </dgm:t>
    </dgm:pt>
    <dgm:pt modelId="{26413F48-E76C-4AA6-8432-64A93AAAED03}" type="sibTrans" cxnId="{FC187C10-FE32-40E1-87BF-63E5EB19A9B8}">
      <dgm:prSet/>
      <dgm:spPr/>
      <dgm:t>
        <a:bodyPr/>
        <a:lstStyle/>
        <a:p>
          <a:endParaRPr lang="en-KE"/>
        </a:p>
      </dgm:t>
    </dgm:pt>
    <dgm:pt modelId="{2DD22CE1-72D0-4417-9C46-65DFC5939DE6}">
      <dgm:prSet phldrT="[Text]" custT="1"/>
      <dgm:spPr/>
      <dgm:t>
        <a:bodyPr/>
        <a:lstStyle/>
        <a:p>
          <a:r>
            <a:rPr lang="en-GB" sz="1600" dirty="0"/>
            <a:t>Insurers can encourage resilience by offering policies that incentivize clients to adopt measures that mitigate the impact of natural disasters.</a:t>
          </a:r>
          <a:endParaRPr lang="en-KE" sz="1600" dirty="0"/>
        </a:p>
      </dgm:t>
    </dgm:pt>
    <dgm:pt modelId="{DA90BF06-8507-4059-8F65-4591801784B1}" type="parTrans" cxnId="{40A5394D-A4AB-42AC-97AD-A00BFF285B56}">
      <dgm:prSet/>
      <dgm:spPr/>
      <dgm:t>
        <a:bodyPr/>
        <a:lstStyle/>
        <a:p>
          <a:endParaRPr lang="en-KE"/>
        </a:p>
      </dgm:t>
    </dgm:pt>
    <dgm:pt modelId="{6CCC61D7-FB93-4039-BA2E-A7048064504C}" type="sibTrans" cxnId="{40A5394D-A4AB-42AC-97AD-A00BFF285B56}">
      <dgm:prSet/>
      <dgm:spPr/>
      <dgm:t>
        <a:bodyPr/>
        <a:lstStyle/>
        <a:p>
          <a:endParaRPr lang="en-KE"/>
        </a:p>
      </dgm:t>
    </dgm:pt>
    <dgm:pt modelId="{EE559813-4511-47DC-8746-B7767AD8DC0D}">
      <dgm:prSet phldrT="[Text]" custT="1"/>
      <dgm:spPr/>
      <dgm:t>
        <a:bodyPr/>
        <a:lstStyle/>
        <a:p>
          <a:r>
            <a:rPr lang="en-GB" sz="1600" dirty="0"/>
            <a:t> The insurance industry can lead by example, adopting environmentally-friendly practices in its own operations.</a:t>
          </a:r>
          <a:endParaRPr lang="en-KE" sz="1600" dirty="0"/>
        </a:p>
      </dgm:t>
    </dgm:pt>
    <dgm:pt modelId="{3E10E7F5-E4F0-4B48-B4A6-34D0F63EEEE7}" type="parTrans" cxnId="{B1F843C1-46D1-4513-8F52-259D02913897}">
      <dgm:prSet/>
      <dgm:spPr/>
      <dgm:t>
        <a:bodyPr/>
        <a:lstStyle/>
        <a:p>
          <a:endParaRPr lang="en-KE"/>
        </a:p>
      </dgm:t>
    </dgm:pt>
    <dgm:pt modelId="{5AC02E61-F351-4EB4-A213-F7E98EAA8FCF}" type="sibTrans" cxnId="{B1F843C1-46D1-4513-8F52-259D02913897}">
      <dgm:prSet/>
      <dgm:spPr/>
      <dgm:t>
        <a:bodyPr/>
        <a:lstStyle/>
        <a:p>
          <a:endParaRPr lang="en-KE"/>
        </a:p>
      </dgm:t>
    </dgm:pt>
    <dgm:pt modelId="{15C65B2C-4FB5-4E25-A277-2177547C70AE}" type="pres">
      <dgm:prSet presAssocID="{8150D8BE-4410-4682-A721-D020EC572A6C}" presName="linear" presStyleCnt="0">
        <dgm:presLayoutVars>
          <dgm:dir/>
          <dgm:animLvl val="lvl"/>
          <dgm:resizeHandles val="exact"/>
        </dgm:presLayoutVars>
      </dgm:prSet>
      <dgm:spPr/>
    </dgm:pt>
    <dgm:pt modelId="{44C5B404-2837-4D4C-8030-A070E41F96FC}" type="pres">
      <dgm:prSet presAssocID="{F3B53E7E-7135-4BA9-8292-23FC21980600}" presName="parentLin" presStyleCnt="0"/>
      <dgm:spPr/>
    </dgm:pt>
    <dgm:pt modelId="{82C0E269-057E-4625-A31E-5E1EEDF4B011}" type="pres">
      <dgm:prSet presAssocID="{F3B53E7E-7135-4BA9-8292-23FC21980600}" presName="parentLeftMargin" presStyleLbl="node1" presStyleIdx="0" presStyleCnt="5"/>
      <dgm:spPr/>
    </dgm:pt>
    <dgm:pt modelId="{F8EC227E-F237-4309-AA20-CE9FC78B8FAA}" type="pres">
      <dgm:prSet presAssocID="{F3B53E7E-7135-4BA9-8292-23FC21980600}" presName="parentText" presStyleLbl="node1" presStyleIdx="0" presStyleCnt="5">
        <dgm:presLayoutVars>
          <dgm:chMax val="0"/>
          <dgm:bulletEnabled val="1"/>
        </dgm:presLayoutVars>
      </dgm:prSet>
      <dgm:spPr/>
    </dgm:pt>
    <dgm:pt modelId="{F23EC5E9-79CF-4195-BE18-EF0F2C25091B}" type="pres">
      <dgm:prSet presAssocID="{F3B53E7E-7135-4BA9-8292-23FC21980600}" presName="negativeSpace" presStyleCnt="0"/>
      <dgm:spPr/>
    </dgm:pt>
    <dgm:pt modelId="{480D8C90-9206-4CDE-9DC0-968071D369DB}" type="pres">
      <dgm:prSet presAssocID="{F3B53E7E-7135-4BA9-8292-23FC21980600}" presName="childText" presStyleLbl="conFgAcc1" presStyleIdx="0" presStyleCnt="5">
        <dgm:presLayoutVars>
          <dgm:bulletEnabled val="1"/>
        </dgm:presLayoutVars>
      </dgm:prSet>
      <dgm:spPr/>
    </dgm:pt>
    <dgm:pt modelId="{39FCBF73-03C8-4875-B6FF-0CF9727F4457}" type="pres">
      <dgm:prSet presAssocID="{65E9DD7C-8AEA-4703-9173-D2ED0D08949D}" presName="spaceBetweenRectangles" presStyleCnt="0"/>
      <dgm:spPr/>
    </dgm:pt>
    <dgm:pt modelId="{DEBFC05B-2E31-43D6-8067-3BE0093AABD3}" type="pres">
      <dgm:prSet presAssocID="{7EA57229-F8A7-4ABF-AEE9-48EB1079ADFB}" presName="parentLin" presStyleCnt="0"/>
      <dgm:spPr/>
    </dgm:pt>
    <dgm:pt modelId="{3FC22378-2AEF-48B1-AC3E-F03B3357674E}" type="pres">
      <dgm:prSet presAssocID="{7EA57229-F8A7-4ABF-AEE9-48EB1079ADFB}" presName="parentLeftMargin" presStyleLbl="node1" presStyleIdx="0" presStyleCnt="5"/>
      <dgm:spPr/>
    </dgm:pt>
    <dgm:pt modelId="{54135480-3C6B-4356-8582-8A9AE012C7F6}" type="pres">
      <dgm:prSet presAssocID="{7EA57229-F8A7-4ABF-AEE9-48EB1079ADFB}" presName="parentText" presStyleLbl="node1" presStyleIdx="1" presStyleCnt="5">
        <dgm:presLayoutVars>
          <dgm:chMax val="0"/>
          <dgm:bulletEnabled val="1"/>
        </dgm:presLayoutVars>
      </dgm:prSet>
      <dgm:spPr/>
    </dgm:pt>
    <dgm:pt modelId="{1D6AEC5D-9D07-4EA6-A46F-441D77822C49}" type="pres">
      <dgm:prSet presAssocID="{7EA57229-F8A7-4ABF-AEE9-48EB1079ADFB}" presName="negativeSpace" presStyleCnt="0"/>
      <dgm:spPr/>
    </dgm:pt>
    <dgm:pt modelId="{80CA6308-DC6F-48BF-9515-B2A860C8A329}" type="pres">
      <dgm:prSet presAssocID="{7EA57229-F8A7-4ABF-AEE9-48EB1079ADFB}" presName="childText" presStyleLbl="conFgAcc1" presStyleIdx="1" presStyleCnt="5">
        <dgm:presLayoutVars>
          <dgm:bulletEnabled val="1"/>
        </dgm:presLayoutVars>
      </dgm:prSet>
      <dgm:spPr/>
    </dgm:pt>
    <dgm:pt modelId="{4E142AF7-B35C-410F-AD7D-E8BCA9516ED5}" type="pres">
      <dgm:prSet presAssocID="{FAC796A3-07F5-46D0-8848-1850F0BA41E4}" presName="spaceBetweenRectangles" presStyleCnt="0"/>
      <dgm:spPr/>
    </dgm:pt>
    <dgm:pt modelId="{30EF5D5F-5A40-41CE-9CE3-35FA55C1ADCA}" type="pres">
      <dgm:prSet presAssocID="{501F36AE-002A-4624-AC9B-86407777864C}" presName="parentLin" presStyleCnt="0"/>
      <dgm:spPr/>
    </dgm:pt>
    <dgm:pt modelId="{E7811E7F-8AE9-4A46-AC8D-BDB5EE258246}" type="pres">
      <dgm:prSet presAssocID="{501F36AE-002A-4624-AC9B-86407777864C}" presName="parentLeftMargin" presStyleLbl="node1" presStyleIdx="1" presStyleCnt="5"/>
      <dgm:spPr/>
    </dgm:pt>
    <dgm:pt modelId="{E5C79ADD-E2B3-400E-B666-F632AD9A8F92}" type="pres">
      <dgm:prSet presAssocID="{501F36AE-002A-4624-AC9B-86407777864C}" presName="parentText" presStyleLbl="node1" presStyleIdx="2" presStyleCnt="5">
        <dgm:presLayoutVars>
          <dgm:chMax val="0"/>
          <dgm:bulletEnabled val="1"/>
        </dgm:presLayoutVars>
      </dgm:prSet>
      <dgm:spPr/>
    </dgm:pt>
    <dgm:pt modelId="{74C923F5-B2AD-4AF1-A1A1-C61D69A161A5}" type="pres">
      <dgm:prSet presAssocID="{501F36AE-002A-4624-AC9B-86407777864C}" presName="negativeSpace" presStyleCnt="0"/>
      <dgm:spPr/>
    </dgm:pt>
    <dgm:pt modelId="{B0AF988C-CC86-420B-96B1-6F6D6AC4494F}" type="pres">
      <dgm:prSet presAssocID="{501F36AE-002A-4624-AC9B-86407777864C}" presName="childText" presStyleLbl="conFgAcc1" presStyleIdx="2" presStyleCnt="5">
        <dgm:presLayoutVars>
          <dgm:bulletEnabled val="1"/>
        </dgm:presLayoutVars>
      </dgm:prSet>
      <dgm:spPr/>
    </dgm:pt>
    <dgm:pt modelId="{AE032945-102E-413A-A3DD-DAC0AABB3028}" type="pres">
      <dgm:prSet presAssocID="{7F0490F9-F771-4E6A-9329-6174BDAF7C3B}" presName="spaceBetweenRectangles" presStyleCnt="0"/>
      <dgm:spPr/>
    </dgm:pt>
    <dgm:pt modelId="{4B05E56F-0C0C-462D-91B3-8F89380D3940}" type="pres">
      <dgm:prSet presAssocID="{F3D190EB-D688-4E6F-9D57-F96D7F6CC944}" presName="parentLin" presStyleCnt="0"/>
      <dgm:spPr/>
    </dgm:pt>
    <dgm:pt modelId="{99BDA490-F98A-4E2F-8408-1D8EA6F7336D}" type="pres">
      <dgm:prSet presAssocID="{F3D190EB-D688-4E6F-9D57-F96D7F6CC944}" presName="parentLeftMargin" presStyleLbl="node1" presStyleIdx="2" presStyleCnt="5"/>
      <dgm:spPr/>
    </dgm:pt>
    <dgm:pt modelId="{CBFA1D61-DA3F-4342-9F29-2C828917AC75}" type="pres">
      <dgm:prSet presAssocID="{F3D190EB-D688-4E6F-9D57-F96D7F6CC944}" presName="parentText" presStyleLbl="node1" presStyleIdx="3" presStyleCnt="5">
        <dgm:presLayoutVars>
          <dgm:chMax val="0"/>
          <dgm:bulletEnabled val="1"/>
        </dgm:presLayoutVars>
      </dgm:prSet>
      <dgm:spPr/>
    </dgm:pt>
    <dgm:pt modelId="{94AC419C-8EDD-405D-8ABF-8448C22D80FB}" type="pres">
      <dgm:prSet presAssocID="{F3D190EB-D688-4E6F-9D57-F96D7F6CC944}" presName="negativeSpace" presStyleCnt="0"/>
      <dgm:spPr/>
    </dgm:pt>
    <dgm:pt modelId="{72C9297D-B48D-4FBB-AD81-1930F11F003F}" type="pres">
      <dgm:prSet presAssocID="{F3D190EB-D688-4E6F-9D57-F96D7F6CC944}" presName="childText" presStyleLbl="conFgAcc1" presStyleIdx="3" presStyleCnt="5">
        <dgm:presLayoutVars>
          <dgm:bulletEnabled val="1"/>
        </dgm:presLayoutVars>
      </dgm:prSet>
      <dgm:spPr/>
    </dgm:pt>
    <dgm:pt modelId="{0E661C00-F65B-4C5A-B371-AFAD494DDB94}" type="pres">
      <dgm:prSet presAssocID="{EE3163D7-6659-4328-B5F7-5F9C8594FB97}" presName="spaceBetweenRectangles" presStyleCnt="0"/>
      <dgm:spPr/>
    </dgm:pt>
    <dgm:pt modelId="{516BB43B-30AA-4EDD-884B-6773C0AD3818}" type="pres">
      <dgm:prSet presAssocID="{E0098982-E4DA-4A53-B1D4-B9D0375A93DB}" presName="parentLin" presStyleCnt="0"/>
      <dgm:spPr/>
    </dgm:pt>
    <dgm:pt modelId="{D6BCA492-1899-4BCF-8252-AED1F905A549}" type="pres">
      <dgm:prSet presAssocID="{E0098982-E4DA-4A53-B1D4-B9D0375A93DB}" presName="parentLeftMargin" presStyleLbl="node1" presStyleIdx="3" presStyleCnt="5"/>
      <dgm:spPr/>
    </dgm:pt>
    <dgm:pt modelId="{E8297387-A4BC-453D-B1DE-15354971F41F}" type="pres">
      <dgm:prSet presAssocID="{E0098982-E4DA-4A53-B1D4-B9D0375A93DB}" presName="parentText" presStyleLbl="node1" presStyleIdx="4" presStyleCnt="5">
        <dgm:presLayoutVars>
          <dgm:chMax val="0"/>
          <dgm:bulletEnabled val="1"/>
        </dgm:presLayoutVars>
      </dgm:prSet>
      <dgm:spPr/>
    </dgm:pt>
    <dgm:pt modelId="{BE3A650D-0B26-47C5-8819-E92CC1464FA0}" type="pres">
      <dgm:prSet presAssocID="{E0098982-E4DA-4A53-B1D4-B9D0375A93DB}" presName="negativeSpace" presStyleCnt="0"/>
      <dgm:spPr/>
    </dgm:pt>
    <dgm:pt modelId="{75520B7E-7A90-4C8B-819C-A84B284FD1C2}" type="pres">
      <dgm:prSet presAssocID="{E0098982-E4DA-4A53-B1D4-B9D0375A93DB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FC187C10-FE32-40E1-87BF-63E5EB19A9B8}" srcId="{8150D8BE-4410-4682-A721-D020EC572A6C}" destId="{E0098982-E4DA-4A53-B1D4-B9D0375A93DB}" srcOrd="4" destOrd="0" parTransId="{FC4CEF09-436A-4518-8B14-08B80720A9C8}" sibTransId="{26413F48-E76C-4AA6-8432-64A93AAAED03}"/>
    <dgm:cxn modelId="{B76E381C-0D35-41D0-B16B-FD8AD9CE6C5D}" srcId="{8150D8BE-4410-4682-A721-D020EC572A6C}" destId="{501F36AE-002A-4624-AC9B-86407777864C}" srcOrd="2" destOrd="0" parTransId="{0B2B142C-3966-45CD-83A5-C00C1F145843}" sibTransId="{7F0490F9-F771-4E6A-9329-6174BDAF7C3B}"/>
    <dgm:cxn modelId="{55832E22-7AEF-4383-B457-2D9D24EF8CD8}" type="presOf" srcId="{2DD22CE1-72D0-4417-9C46-65DFC5939DE6}" destId="{72C9297D-B48D-4FBB-AD81-1930F11F003F}" srcOrd="0" destOrd="0" presId="urn:microsoft.com/office/officeart/2005/8/layout/list1"/>
    <dgm:cxn modelId="{97043628-77CA-4A0C-B9F6-86A0D287EA2F}" type="presOf" srcId="{588439A2-961D-498A-9D31-74FD172AD647}" destId="{80CA6308-DC6F-48BF-9515-B2A860C8A329}" srcOrd="0" destOrd="0" presId="urn:microsoft.com/office/officeart/2005/8/layout/list1"/>
    <dgm:cxn modelId="{275E0A2D-5507-4173-A3F3-4EEDBB189849}" type="presOf" srcId="{7EA57229-F8A7-4ABF-AEE9-48EB1079ADFB}" destId="{54135480-3C6B-4356-8582-8A9AE012C7F6}" srcOrd="1" destOrd="0" presId="urn:microsoft.com/office/officeart/2005/8/layout/list1"/>
    <dgm:cxn modelId="{BA5DAB33-F74E-4F73-866B-64BFC8DD1895}" type="presOf" srcId="{D2A43B35-1184-4D75-A0AE-248846D58403}" destId="{480D8C90-9206-4CDE-9DC0-968071D369DB}" srcOrd="0" destOrd="0" presId="urn:microsoft.com/office/officeart/2005/8/layout/list1"/>
    <dgm:cxn modelId="{E8753240-3878-427E-BA23-5555660F6E64}" type="presOf" srcId="{F3B53E7E-7135-4BA9-8292-23FC21980600}" destId="{F8EC227E-F237-4309-AA20-CE9FC78B8FAA}" srcOrd="1" destOrd="0" presId="urn:microsoft.com/office/officeart/2005/8/layout/list1"/>
    <dgm:cxn modelId="{CFF7045D-F135-42A1-8705-572A55C6C193}" type="presOf" srcId="{F3D190EB-D688-4E6F-9D57-F96D7F6CC944}" destId="{CBFA1D61-DA3F-4342-9F29-2C828917AC75}" srcOrd="1" destOrd="0" presId="urn:microsoft.com/office/officeart/2005/8/layout/list1"/>
    <dgm:cxn modelId="{98D10945-7436-4712-A56E-AC94FC2899EB}" srcId="{8150D8BE-4410-4682-A721-D020EC572A6C}" destId="{F3D190EB-D688-4E6F-9D57-F96D7F6CC944}" srcOrd="3" destOrd="0" parTransId="{A69E8343-4FB4-4CE2-9F2E-2B56F536ECDD}" sibTransId="{EE3163D7-6659-4328-B5F7-5F9C8594FB97}"/>
    <dgm:cxn modelId="{B6252365-8802-4CBF-9B3F-469C2623F07E}" srcId="{F3B53E7E-7135-4BA9-8292-23FC21980600}" destId="{D2A43B35-1184-4D75-A0AE-248846D58403}" srcOrd="0" destOrd="0" parTransId="{8B808D5C-DDB0-4F47-8381-928DAF5D3EF6}" sibTransId="{BC19ED7C-F04A-42DC-A52D-20D9AE7BB124}"/>
    <dgm:cxn modelId="{F50DD046-6209-48CE-A86A-63C30306F3BD}" type="presOf" srcId="{501F36AE-002A-4624-AC9B-86407777864C}" destId="{E7811E7F-8AE9-4A46-AC8D-BDB5EE258246}" srcOrd="0" destOrd="0" presId="urn:microsoft.com/office/officeart/2005/8/layout/list1"/>
    <dgm:cxn modelId="{8ACDED4C-9F56-4C58-B92F-13DBA2C133B5}" srcId="{8150D8BE-4410-4682-A721-D020EC572A6C}" destId="{F3B53E7E-7135-4BA9-8292-23FC21980600}" srcOrd="0" destOrd="0" parTransId="{6634DF5A-330F-4DA5-9302-509DBBDFEEBB}" sibTransId="{65E9DD7C-8AEA-4703-9173-D2ED0D08949D}"/>
    <dgm:cxn modelId="{40A5394D-A4AB-42AC-97AD-A00BFF285B56}" srcId="{F3D190EB-D688-4E6F-9D57-F96D7F6CC944}" destId="{2DD22CE1-72D0-4417-9C46-65DFC5939DE6}" srcOrd="0" destOrd="0" parTransId="{DA90BF06-8507-4059-8F65-4591801784B1}" sibTransId="{6CCC61D7-FB93-4039-BA2E-A7048064504C}"/>
    <dgm:cxn modelId="{EF4F3755-E201-4AED-8406-0C1956D52FAD}" type="presOf" srcId="{013A32BC-954F-46B5-8BFE-9F7E93E768B1}" destId="{B0AF988C-CC86-420B-96B1-6F6D6AC4494F}" srcOrd="0" destOrd="0" presId="urn:microsoft.com/office/officeart/2005/8/layout/list1"/>
    <dgm:cxn modelId="{EE86E559-9357-4907-858F-2B135A5C9150}" type="presOf" srcId="{E0098982-E4DA-4A53-B1D4-B9D0375A93DB}" destId="{E8297387-A4BC-453D-B1DE-15354971F41F}" srcOrd="1" destOrd="0" presId="urn:microsoft.com/office/officeart/2005/8/layout/list1"/>
    <dgm:cxn modelId="{4FB78891-E827-4261-9862-03DB334657A3}" type="presOf" srcId="{F3B53E7E-7135-4BA9-8292-23FC21980600}" destId="{82C0E269-057E-4625-A31E-5E1EEDF4B011}" srcOrd="0" destOrd="0" presId="urn:microsoft.com/office/officeart/2005/8/layout/list1"/>
    <dgm:cxn modelId="{6F10BE9F-16A6-4904-A8A7-86BCD85DD51E}" type="presOf" srcId="{7EA57229-F8A7-4ABF-AEE9-48EB1079ADFB}" destId="{3FC22378-2AEF-48B1-AC3E-F03B3357674E}" srcOrd="0" destOrd="0" presId="urn:microsoft.com/office/officeart/2005/8/layout/list1"/>
    <dgm:cxn modelId="{6CA7C0AC-BEC0-422A-90D0-4AC8309DF001}" srcId="{8150D8BE-4410-4682-A721-D020EC572A6C}" destId="{7EA57229-F8A7-4ABF-AEE9-48EB1079ADFB}" srcOrd="1" destOrd="0" parTransId="{EC01BF26-344D-481E-A747-2A7C0B08352B}" sibTransId="{FAC796A3-07F5-46D0-8848-1850F0BA41E4}"/>
    <dgm:cxn modelId="{E620A8AE-D8F2-49C7-B639-32D8C3EBD62A}" type="presOf" srcId="{8150D8BE-4410-4682-A721-D020EC572A6C}" destId="{15C65B2C-4FB5-4E25-A277-2177547C70AE}" srcOrd="0" destOrd="0" presId="urn:microsoft.com/office/officeart/2005/8/layout/list1"/>
    <dgm:cxn modelId="{4E5223BE-E4F5-4E3A-B7D9-9B0EBF456140}" type="presOf" srcId="{501F36AE-002A-4624-AC9B-86407777864C}" destId="{E5C79ADD-E2B3-400E-B666-F632AD9A8F92}" srcOrd="1" destOrd="0" presId="urn:microsoft.com/office/officeart/2005/8/layout/list1"/>
    <dgm:cxn modelId="{B1F843C1-46D1-4513-8F52-259D02913897}" srcId="{E0098982-E4DA-4A53-B1D4-B9D0375A93DB}" destId="{EE559813-4511-47DC-8746-B7767AD8DC0D}" srcOrd="0" destOrd="0" parTransId="{3E10E7F5-E4F0-4B48-B4A6-34D0F63EEEE7}" sibTransId="{5AC02E61-F351-4EB4-A213-F7E98EAA8FCF}"/>
    <dgm:cxn modelId="{EA758BC6-3F0B-4F1E-AE1B-102BEAF9CC1C}" type="presOf" srcId="{F3D190EB-D688-4E6F-9D57-F96D7F6CC944}" destId="{99BDA490-F98A-4E2F-8408-1D8EA6F7336D}" srcOrd="0" destOrd="0" presId="urn:microsoft.com/office/officeart/2005/8/layout/list1"/>
    <dgm:cxn modelId="{02CA78CC-63A2-4766-A450-A302562ABCB7}" type="presOf" srcId="{E0098982-E4DA-4A53-B1D4-B9D0375A93DB}" destId="{D6BCA492-1899-4BCF-8252-AED1F905A549}" srcOrd="0" destOrd="0" presId="urn:microsoft.com/office/officeart/2005/8/layout/list1"/>
    <dgm:cxn modelId="{36A6A8D3-0554-4162-B2C7-7E1B54A8ADA0}" srcId="{7EA57229-F8A7-4ABF-AEE9-48EB1079ADFB}" destId="{588439A2-961D-498A-9D31-74FD172AD647}" srcOrd="0" destOrd="0" parTransId="{F4363E50-E4C2-4547-84BB-4D363082C566}" sibTransId="{70191EA9-8D87-4DA7-A80F-B9EE55F1A755}"/>
    <dgm:cxn modelId="{CFDC7AD6-69F6-46AB-9B20-927929268AAD}" srcId="{501F36AE-002A-4624-AC9B-86407777864C}" destId="{013A32BC-954F-46B5-8BFE-9F7E93E768B1}" srcOrd="0" destOrd="0" parTransId="{44541A8D-203B-4E67-AFFA-800809CE8D15}" sibTransId="{6F13551D-E48F-4C16-8620-177BAEEB7B1D}"/>
    <dgm:cxn modelId="{62F94DF4-2868-40A7-B75C-F46511FDBC03}" type="presOf" srcId="{EE559813-4511-47DC-8746-B7767AD8DC0D}" destId="{75520B7E-7A90-4C8B-819C-A84B284FD1C2}" srcOrd="0" destOrd="0" presId="urn:microsoft.com/office/officeart/2005/8/layout/list1"/>
    <dgm:cxn modelId="{FE8F214C-36D8-41F2-944D-D7679B7C487A}" type="presParOf" srcId="{15C65B2C-4FB5-4E25-A277-2177547C70AE}" destId="{44C5B404-2837-4D4C-8030-A070E41F96FC}" srcOrd="0" destOrd="0" presId="urn:microsoft.com/office/officeart/2005/8/layout/list1"/>
    <dgm:cxn modelId="{53FD8EDE-7F7A-4A7A-8DC3-A935365F3E6E}" type="presParOf" srcId="{44C5B404-2837-4D4C-8030-A070E41F96FC}" destId="{82C0E269-057E-4625-A31E-5E1EEDF4B011}" srcOrd="0" destOrd="0" presId="urn:microsoft.com/office/officeart/2005/8/layout/list1"/>
    <dgm:cxn modelId="{E629A1DF-FDA6-4AA5-BB9C-92E01D29AC55}" type="presParOf" srcId="{44C5B404-2837-4D4C-8030-A070E41F96FC}" destId="{F8EC227E-F237-4309-AA20-CE9FC78B8FAA}" srcOrd="1" destOrd="0" presId="urn:microsoft.com/office/officeart/2005/8/layout/list1"/>
    <dgm:cxn modelId="{5A3678BA-45D2-4CDB-B997-D43FEDA41870}" type="presParOf" srcId="{15C65B2C-4FB5-4E25-A277-2177547C70AE}" destId="{F23EC5E9-79CF-4195-BE18-EF0F2C25091B}" srcOrd="1" destOrd="0" presId="urn:microsoft.com/office/officeart/2005/8/layout/list1"/>
    <dgm:cxn modelId="{F3612187-6F1D-4FEF-9D93-D35C1C29FAD2}" type="presParOf" srcId="{15C65B2C-4FB5-4E25-A277-2177547C70AE}" destId="{480D8C90-9206-4CDE-9DC0-968071D369DB}" srcOrd="2" destOrd="0" presId="urn:microsoft.com/office/officeart/2005/8/layout/list1"/>
    <dgm:cxn modelId="{5E61AD52-199E-40A9-98F0-A8BF3D476497}" type="presParOf" srcId="{15C65B2C-4FB5-4E25-A277-2177547C70AE}" destId="{39FCBF73-03C8-4875-B6FF-0CF9727F4457}" srcOrd="3" destOrd="0" presId="urn:microsoft.com/office/officeart/2005/8/layout/list1"/>
    <dgm:cxn modelId="{41419F91-DFE7-403D-B265-CE9F3C034E28}" type="presParOf" srcId="{15C65B2C-4FB5-4E25-A277-2177547C70AE}" destId="{DEBFC05B-2E31-43D6-8067-3BE0093AABD3}" srcOrd="4" destOrd="0" presId="urn:microsoft.com/office/officeart/2005/8/layout/list1"/>
    <dgm:cxn modelId="{CC4CB129-1999-45A3-908D-5148F6EB0F78}" type="presParOf" srcId="{DEBFC05B-2E31-43D6-8067-3BE0093AABD3}" destId="{3FC22378-2AEF-48B1-AC3E-F03B3357674E}" srcOrd="0" destOrd="0" presId="urn:microsoft.com/office/officeart/2005/8/layout/list1"/>
    <dgm:cxn modelId="{1A5A219D-4F40-4D5A-876A-26D35BA02020}" type="presParOf" srcId="{DEBFC05B-2E31-43D6-8067-3BE0093AABD3}" destId="{54135480-3C6B-4356-8582-8A9AE012C7F6}" srcOrd="1" destOrd="0" presId="urn:microsoft.com/office/officeart/2005/8/layout/list1"/>
    <dgm:cxn modelId="{263801F6-9C16-411E-A800-A226F1DE47D9}" type="presParOf" srcId="{15C65B2C-4FB5-4E25-A277-2177547C70AE}" destId="{1D6AEC5D-9D07-4EA6-A46F-441D77822C49}" srcOrd="5" destOrd="0" presId="urn:microsoft.com/office/officeart/2005/8/layout/list1"/>
    <dgm:cxn modelId="{23F70CA2-7ED7-47B3-8C86-12B547CA7576}" type="presParOf" srcId="{15C65B2C-4FB5-4E25-A277-2177547C70AE}" destId="{80CA6308-DC6F-48BF-9515-B2A860C8A329}" srcOrd="6" destOrd="0" presId="urn:microsoft.com/office/officeart/2005/8/layout/list1"/>
    <dgm:cxn modelId="{D8BC3131-D37B-4516-A890-A7530461F3DF}" type="presParOf" srcId="{15C65B2C-4FB5-4E25-A277-2177547C70AE}" destId="{4E142AF7-B35C-410F-AD7D-E8BCA9516ED5}" srcOrd="7" destOrd="0" presId="urn:microsoft.com/office/officeart/2005/8/layout/list1"/>
    <dgm:cxn modelId="{7EF9675D-E4B8-4EEF-AB11-651F5C567442}" type="presParOf" srcId="{15C65B2C-4FB5-4E25-A277-2177547C70AE}" destId="{30EF5D5F-5A40-41CE-9CE3-35FA55C1ADCA}" srcOrd="8" destOrd="0" presId="urn:microsoft.com/office/officeart/2005/8/layout/list1"/>
    <dgm:cxn modelId="{614C3C2B-6D30-4A0B-9F55-0DEEFC52D54E}" type="presParOf" srcId="{30EF5D5F-5A40-41CE-9CE3-35FA55C1ADCA}" destId="{E7811E7F-8AE9-4A46-AC8D-BDB5EE258246}" srcOrd="0" destOrd="0" presId="urn:microsoft.com/office/officeart/2005/8/layout/list1"/>
    <dgm:cxn modelId="{F1D084B0-AE2D-4D2D-8116-3F64511CF48F}" type="presParOf" srcId="{30EF5D5F-5A40-41CE-9CE3-35FA55C1ADCA}" destId="{E5C79ADD-E2B3-400E-B666-F632AD9A8F92}" srcOrd="1" destOrd="0" presId="urn:microsoft.com/office/officeart/2005/8/layout/list1"/>
    <dgm:cxn modelId="{D71B1DFC-9854-4CD6-8F84-FF65EBC94D26}" type="presParOf" srcId="{15C65B2C-4FB5-4E25-A277-2177547C70AE}" destId="{74C923F5-B2AD-4AF1-A1A1-C61D69A161A5}" srcOrd="9" destOrd="0" presId="urn:microsoft.com/office/officeart/2005/8/layout/list1"/>
    <dgm:cxn modelId="{AB4262E9-A6A4-4703-B0F4-1F043D716A78}" type="presParOf" srcId="{15C65B2C-4FB5-4E25-A277-2177547C70AE}" destId="{B0AF988C-CC86-420B-96B1-6F6D6AC4494F}" srcOrd="10" destOrd="0" presId="urn:microsoft.com/office/officeart/2005/8/layout/list1"/>
    <dgm:cxn modelId="{898F84C6-7E78-4100-8E5D-18C4E39DD209}" type="presParOf" srcId="{15C65B2C-4FB5-4E25-A277-2177547C70AE}" destId="{AE032945-102E-413A-A3DD-DAC0AABB3028}" srcOrd="11" destOrd="0" presId="urn:microsoft.com/office/officeart/2005/8/layout/list1"/>
    <dgm:cxn modelId="{BEE52852-B890-4557-963D-D031A080FF87}" type="presParOf" srcId="{15C65B2C-4FB5-4E25-A277-2177547C70AE}" destId="{4B05E56F-0C0C-462D-91B3-8F89380D3940}" srcOrd="12" destOrd="0" presId="urn:microsoft.com/office/officeart/2005/8/layout/list1"/>
    <dgm:cxn modelId="{38079C30-D15C-411F-837A-30C44B27443C}" type="presParOf" srcId="{4B05E56F-0C0C-462D-91B3-8F89380D3940}" destId="{99BDA490-F98A-4E2F-8408-1D8EA6F7336D}" srcOrd="0" destOrd="0" presId="urn:microsoft.com/office/officeart/2005/8/layout/list1"/>
    <dgm:cxn modelId="{D40A7243-28F6-4DE7-98B8-1CB8E8DB826E}" type="presParOf" srcId="{4B05E56F-0C0C-462D-91B3-8F89380D3940}" destId="{CBFA1D61-DA3F-4342-9F29-2C828917AC75}" srcOrd="1" destOrd="0" presId="urn:microsoft.com/office/officeart/2005/8/layout/list1"/>
    <dgm:cxn modelId="{F1C96836-378C-4DA4-8E3A-101BAEE746CD}" type="presParOf" srcId="{15C65B2C-4FB5-4E25-A277-2177547C70AE}" destId="{94AC419C-8EDD-405D-8ABF-8448C22D80FB}" srcOrd="13" destOrd="0" presId="urn:microsoft.com/office/officeart/2005/8/layout/list1"/>
    <dgm:cxn modelId="{32F57205-C694-477C-ACB4-567EA1B5C11C}" type="presParOf" srcId="{15C65B2C-4FB5-4E25-A277-2177547C70AE}" destId="{72C9297D-B48D-4FBB-AD81-1930F11F003F}" srcOrd="14" destOrd="0" presId="urn:microsoft.com/office/officeart/2005/8/layout/list1"/>
    <dgm:cxn modelId="{4BAB4BB9-0F95-4056-8283-5D8747131B77}" type="presParOf" srcId="{15C65B2C-4FB5-4E25-A277-2177547C70AE}" destId="{0E661C00-F65B-4C5A-B371-AFAD494DDB94}" srcOrd="15" destOrd="0" presId="urn:microsoft.com/office/officeart/2005/8/layout/list1"/>
    <dgm:cxn modelId="{7320B0F2-8462-4AB5-8A2E-51FFE853E8C4}" type="presParOf" srcId="{15C65B2C-4FB5-4E25-A277-2177547C70AE}" destId="{516BB43B-30AA-4EDD-884B-6773C0AD3818}" srcOrd="16" destOrd="0" presId="urn:microsoft.com/office/officeart/2005/8/layout/list1"/>
    <dgm:cxn modelId="{A616ECC8-FF68-456D-B5BC-27A8E6D1C28B}" type="presParOf" srcId="{516BB43B-30AA-4EDD-884B-6773C0AD3818}" destId="{D6BCA492-1899-4BCF-8252-AED1F905A549}" srcOrd="0" destOrd="0" presId="urn:microsoft.com/office/officeart/2005/8/layout/list1"/>
    <dgm:cxn modelId="{9D004952-F3DA-4E74-B213-B4A0CE830198}" type="presParOf" srcId="{516BB43B-30AA-4EDD-884B-6773C0AD3818}" destId="{E8297387-A4BC-453D-B1DE-15354971F41F}" srcOrd="1" destOrd="0" presId="urn:microsoft.com/office/officeart/2005/8/layout/list1"/>
    <dgm:cxn modelId="{964E2DE9-4C5B-4157-9F3A-5F739A06CB7A}" type="presParOf" srcId="{15C65B2C-4FB5-4E25-A277-2177547C70AE}" destId="{BE3A650D-0B26-47C5-8819-E92CC1464FA0}" srcOrd="17" destOrd="0" presId="urn:microsoft.com/office/officeart/2005/8/layout/list1"/>
    <dgm:cxn modelId="{ECACF0E4-C011-4B87-B865-1A29197B353A}" type="presParOf" srcId="{15C65B2C-4FB5-4E25-A277-2177547C70AE}" destId="{75520B7E-7A90-4C8B-819C-A84B284FD1C2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5D5A4010-7B0E-44DA-BEC0-A9630B612F86}" type="doc">
      <dgm:prSet loTypeId="urn:microsoft.com/office/officeart/2005/8/layout/vProcess5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KE"/>
        </a:p>
      </dgm:t>
    </dgm:pt>
    <dgm:pt modelId="{1B7AC11C-EAFB-44A4-95DA-09300BBC8C53}">
      <dgm:prSet phldrT="[Text]"/>
      <dgm:spPr/>
      <dgm:t>
        <a:bodyPr/>
        <a:lstStyle/>
        <a:p>
          <a:r>
            <a:rPr lang="en-GB" dirty="0"/>
            <a:t>Bulk of natural disaster losses remains uninsured -  In 2020, the insured losses from natural catastrophes in Africa were roughly 10% i.e. $2.4 billion, highlighting the need for risk mitigation </a:t>
          </a:r>
          <a:r>
            <a:rPr lang="en-GB"/>
            <a:t>strategies.</a:t>
          </a:r>
          <a:endParaRPr lang="en-KE" dirty="0"/>
        </a:p>
      </dgm:t>
    </dgm:pt>
    <dgm:pt modelId="{E739A9DE-7741-4500-B575-577C09F55379}" type="parTrans" cxnId="{669CAB12-016C-4401-AFC6-FD8ED96F9DD8}">
      <dgm:prSet/>
      <dgm:spPr/>
      <dgm:t>
        <a:bodyPr/>
        <a:lstStyle/>
        <a:p>
          <a:endParaRPr lang="en-KE"/>
        </a:p>
      </dgm:t>
    </dgm:pt>
    <dgm:pt modelId="{568D1720-EF04-4DB6-8605-40E3BD130E48}" type="sibTrans" cxnId="{669CAB12-016C-4401-AFC6-FD8ED96F9DD8}">
      <dgm:prSet/>
      <dgm:spPr/>
      <dgm:t>
        <a:bodyPr/>
        <a:lstStyle/>
        <a:p>
          <a:endParaRPr lang="en-KE"/>
        </a:p>
      </dgm:t>
    </dgm:pt>
    <dgm:pt modelId="{5BA0346B-0CA7-488E-A7F9-FC6ED6066559}">
      <dgm:prSet phldrT="[Text]"/>
      <dgm:spPr/>
      <dgm:t>
        <a:bodyPr/>
        <a:lstStyle/>
        <a:p>
          <a:r>
            <a:rPr lang="en-GB" dirty="0"/>
            <a:t>Greening the Financial System - In 2021, the African green bond market reached $7 billion against a world green bond market of $270 billion , highlighting the growing importance of sustainable investing.</a:t>
          </a:r>
          <a:endParaRPr lang="en-KE" dirty="0"/>
        </a:p>
      </dgm:t>
    </dgm:pt>
    <dgm:pt modelId="{4780E799-8076-46AF-BD8F-7ED298BE7ECF}" type="parTrans" cxnId="{D27B48DD-5752-4D9B-BEFF-6072943328D9}">
      <dgm:prSet/>
      <dgm:spPr/>
      <dgm:t>
        <a:bodyPr/>
        <a:lstStyle/>
        <a:p>
          <a:endParaRPr lang="en-KE"/>
        </a:p>
      </dgm:t>
    </dgm:pt>
    <dgm:pt modelId="{8135A602-FFD7-4851-9903-209A8A407368}" type="sibTrans" cxnId="{D27B48DD-5752-4D9B-BEFF-6072943328D9}">
      <dgm:prSet/>
      <dgm:spPr/>
      <dgm:t>
        <a:bodyPr/>
        <a:lstStyle/>
        <a:p>
          <a:endParaRPr lang="en-KE"/>
        </a:p>
      </dgm:t>
    </dgm:pt>
    <dgm:pt modelId="{520D4EF3-EFD3-4636-8545-35DD154B0400}">
      <dgm:prSet phldrT="[Text]"/>
      <dgm:spPr/>
      <dgm:t>
        <a:bodyPr/>
        <a:lstStyle/>
        <a:p>
          <a:r>
            <a:rPr lang="en-GB" dirty="0"/>
            <a:t>Sustainable insurance products - In 2020, renewable energy investments in Africa totalled $6.5 billion, with insurers playing a significant role in financing these projects</a:t>
          </a:r>
          <a:endParaRPr lang="en-KE" dirty="0"/>
        </a:p>
      </dgm:t>
    </dgm:pt>
    <dgm:pt modelId="{7B6043A0-533A-49A4-AEA9-5DD834B33189}" type="parTrans" cxnId="{AF600B7D-54E8-404B-84F7-C4CC1D223855}">
      <dgm:prSet/>
      <dgm:spPr/>
      <dgm:t>
        <a:bodyPr/>
        <a:lstStyle/>
        <a:p>
          <a:endParaRPr lang="en-KE"/>
        </a:p>
      </dgm:t>
    </dgm:pt>
    <dgm:pt modelId="{176630D4-2583-4198-A858-7E1F7462FE00}" type="sibTrans" cxnId="{AF600B7D-54E8-404B-84F7-C4CC1D223855}">
      <dgm:prSet/>
      <dgm:spPr/>
      <dgm:t>
        <a:bodyPr/>
        <a:lstStyle/>
        <a:p>
          <a:endParaRPr lang="en-KE"/>
        </a:p>
      </dgm:t>
    </dgm:pt>
    <dgm:pt modelId="{28C8E567-A8D9-4BF3-BC49-3F648965AC53}">
      <dgm:prSet phldrT="[Text]"/>
      <dgm:spPr/>
      <dgm:t>
        <a:bodyPr/>
        <a:lstStyle/>
        <a:p>
          <a:r>
            <a:rPr lang="en-GB" dirty="0"/>
            <a:t>Sustainable Strategies -  In 2021, 33% of African insurers reported having a sustainability strategy in place, with many setting ambitious targets for reducing their carbon footprint.</a:t>
          </a:r>
          <a:endParaRPr lang="en-KE" dirty="0"/>
        </a:p>
      </dgm:t>
    </dgm:pt>
    <dgm:pt modelId="{B7DEB103-9BB5-433A-9A01-390D26A095B3}" type="parTrans" cxnId="{596A94EF-3114-4ECA-BF09-3D2DB8EDDE92}">
      <dgm:prSet/>
      <dgm:spPr/>
      <dgm:t>
        <a:bodyPr/>
        <a:lstStyle/>
        <a:p>
          <a:endParaRPr lang="en-KE"/>
        </a:p>
      </dgm:t>
    </dgm:pt>
    <dgm:pt modelId="{5B771138-3A86-4FD8-AB03-0B5D049C3560}" type="sibTrans" cxnId="{596A94EF-3114-4ECA-BF09-3D2DB8EDDE92}">
      <dgm:prSet/>
      <dgm:spPr/>
      <dgm:t>
        <a:bodyPr/>
        <a:lstStyle/>
        <a:p>
          <a:endParaRPr lang="en-KE"/>
        </a:p>
      </dgm:t>
    </dgm:pt>
    <dgm:pt modelId="{DD4D0BEB-EB78-4BF3-AE14-11E090BF9DDA}" type="pres">
      <dgm:prSet presAssocID="{5D5A4010-7B0E-44DA-BEC0-A9630B612F86}" presName="outerComposite" presStyleCnt="0">
        <dgm:presLayoutVars>
          <dgm:chMax val="5"/>
          <dgm:dir/>
          <dgm:resizeHandles val="exact"/>
        </dgm:presLayoutVars>
      </dgm:prSet>
      <dgm:spPr/>
    </dgm:pt>
    <dgm:pt modelId="{F4A35315-7E1D-4580-8C1A-670EA92810EE}" type="pres">
      <dgm:prSet presAssocID="{5D5A4010-7B0E-44DA-BEC0-A9630B612F86}" presName="dummyMaxCanvas" presStyleCnt="0">
        <dgm:presLayoutVars/>
      </dgm:prSet>
      <dgm:spPr/>
    </dgm:pt>
    <dgm:pt modelId="{530D920D-96BE-4FCB-AB6C-E00FEBCB309B}" type="pres">
      <dgm:prSet presAssocID="{5D5A4010-7B0E-44DA-BEC0-A9630B612F86}" presName="FourNodes_1" presStyleLbl="node1" presStyleIdx="0" presStyleCnt="4">
        <dgm:presLayoutVars>
          <dgm:bulletEnabled val="1"/>
        </dgm:presLayoutVars>
      </dgm:prSet>
      <dgm:spPr/>
    </dgm:pt>
    <dgm:pt modelId="{A5EEA861-F914-4ECC-9B98-17A0AF868CB6}" type="pres">
      <dgm:prSet presAssocID="{5D5A4010-7B0E-44DA-BEC0-A9630B612F86}" presName="FourNodes_2" presStyleLbl="node1" presStyleIdx="1" presStyleCnt="4">
        <dgm:presLayoutVars>
          <dgm:bulletEnabled val="1"/>
        </dgm:presLayoutVars>
      </dgm:prSet>
      <dgm:spPr/>
    </dgm:pt>
    <dgm:pt modelId="{6722D2A7-9DDB-4E9F-B71B-AA57DAA9BD39}" type="pres">
      <dgm:prSet presAssocID="{5D5A4010-7B0E-44DA-BEC0-A9630B612F86}" presName="FourNodes_3" presStyleLbl="node1" presStyleIdx="2" presStyleCnt="4">
        <dgm:presLayoutVars>
          <dgm:bulletEnabled val="1"/>
        </dgm:presLayoutVars>
      </dgm:prSet>
      <dgm:spPr/>
    </dgm:pt>
    <dgm:pt modelId="{F29FC252-EFDA-4A4B-ABDC-EE73C1920778}" type="pres">
      <dgm:prSet presAssocID="{5D5A4010-7B0E-44DA-BEC0-A9630B612F86}" presName="FourNodes_4" presStyleLbl="node1" presStyleIdx="3" presStyleCnt="4">
        <dgm:presLayoutVars>
          <dgm:bulletEnabled val="1"/>
        </dgm:presLayoutVars>
      </dgm:prSet>
      <dgm:spPr/>
    </dgm:pt>
    <dgm:pt modelId="{36800502-E531-411C-AD20-0CECBFE048E1}" type="pres">
      <dgm:prSet presAssocID="{5D5A4010-7B0E-44DA-BEC0-A9630B612F86}" presName="FourConn_1-2" presStyleLbl="fgAccFollowNode1" presStyleIdx="0" presStyleCnt="3">
        <dgm:presLayoutVars>
          <dgm:bulletEnabled val="1"/>
        </dgm:presLayoutVars>
      </dgm:prSet>
      <dgm:spPr/>
    </dgm:pt>
    <dgm:pt modelId="{50532977-FFED-4F21-AB9C-9C43DE868175}" type="pres">
      <dgm:prSet presAssocID="{5D5A4010-7B0E-44DA-BEC0-A9630B612F86}" presName="FourConn_2-3" presStyleLbl="fgAccFollowNode1" presStyleIdx="1" presStyleCnt="3">
        <dgm:presLayoutVars>
          <dgm:bulletEnabled val="1"/>
        </dgm:presLayoutVars>
      </dgm:prSet>
      <dgm:spPr/>
    </dgm:pt>
    <dgm:pt modelId="{F90CC9AF-B1A7-4C1F-92EB-851AFEA21B4B}" type="pres">
      <dgm:prSet presAssocID="{5D5A4010-7B0E-44DA-BEC0-A9630B612F86}" presName="FourConn_3-4" presStyleLbl="fgAccFollowNode1" presStyleIdx="2" presStyleCnt="3">
        <dgm:presLayoutVars>
          <dgm:bulletEnabled val="1"/>
        </dgm:presLayoutVars>
      </dgm:prSet>
      <dgm:spPr/>
    </dgm:pt>
    <dgm:pt modelId="{AE6D52FC-2110-44A8-B8E1-D162FC965746}" type="pres">
      <dgm:prSet presAssocID="{5D5A4010-7B0E-44DA-BEC0-A9630B612F86}" presName="FourNodes_1_text" presStyleLbl="node1" presStyleIdx="3" presStyleCnt="4">
        <dgm:presLayoutVars>
          <dgm:bulletEnabled val="1"/>
        </dgm:presLayoutVars>
      </dgm:prSet>
      <dgm:spPr/>
    </dgm:pt>
    <dgm:pt modelId="{FCAE1AD7-59C9-4E63-BC92-FC90F8270391}" type="pres">
      <dgm:prSet presAssocID="{5D5A4010-7B0E-44DA-BEC0-A9630B612F86}" presName="FourNodes_2_text" presStyleLbl="node1" presStyleIdx="3" presStyleCnt="4">
        <dgm:presLayoutVars>
          <dgm:bulletEnabled val="1"/>
        </dgm:presLayoutVars>
      </dgm:prSet>
      <dgm:spPr/>
    </dgm:pt>
    <dgm:pt modelId="{D8E4D7D3-869E-4D09-BE8E-0B725EBBE484}" type="pres">
      <dgm:prSet presAssocID="{5D5A4010-7B0E-44DA-BEC0-A9630B612F86}" presName="FourNodes_3_text" presStyleLbl="node1" presStyleIdx="3" presStyleCnt="4">
        <dgm:presLayoutVars>
          <dgm:bulletEnabled val="1"/>
        </dgm:presLayoutVars>
      </dgm:prSet>
      <dgm:spPr/>
    </dgm:pt>
    <dgm:pt modelId="{082B17E4-7B8D-4320-ACC8-AC1DE8804167}" type="pres">
      <dgm:prSet presAssocID="{5D5A4010-7B0E-44DA-BEC0-A9630B612F86}" presName="FourNodes_4_text" presStyleLbl="node1" presStyleIdx="3" presStyleCnt="4">
        <dgm:presLayoutVars>
          <dgm:bulletEnabled val="1"/>
        </dgm:presLayoutVars>
      </dgm:prSet>
      <dgm:spPr/>
    </dgm:pt>
  </dgm:ptLst>
  <dgm:cxnLst>
    <dgm:cxn modelId="{9F1BE202-F0EE-4FF5-80B5-7A7D5656B621}" type="presOf" srcId="{5BA0346B-0CA7-488E-A7F9-FC6ED6066559}" destId="{FCAE1AD7-59C9-4E63-BC92-FC90F8270391}" srcOrd="1" destOrd="0" presId="urn:microsoft.com/office/officeart/2005/8/layout/vProcess5"/>
    <dgm:cxn modelId="{669CAB12-016C-4401-AFC6-FD8ED96F9DD8}" srcId="{5D5A4010-7B0E-44DA-BEC0-A9630B612F86}" destId="{1B7AC11C-EAFB-44A4-95DA-09300BBC8C53}" srcOrd="0" destOrd="0" parTransId="{E739A9DE-7741-4500-B575-577C09F55379}" sibTransId="{568D1720-EF04-4DB6-8605-40E3BD130E48}"/>
    <dgm:cxn modelId="{995EE91D-D237-4592-B81E-FD11452E9CA6}" type="presOf" srcId="{5D5A4010-7B0E-44DA-BEC0-A9630B612F86}" destId="{DD4D0BEB-EB78-4BF3-AE14-11E090BF9DDA}" srcOrd="0" destOrd="0" presId="urn:microsoft.com/office/officeart/2005/8/layout/vProcess5"/>
    <dgm:cxn modelId="{9B77731E-3AE3-4365-A673-5BFD16EB5761}" type="presOf" srcId="{520D4EF3-EFD3-4636-8545-35DD154B0400}" destId="{D8E4D7D3-869E-4D09-BE8E-0B725EBBE484}" srcOrd="1" destOrd="0" presId="urn:microsoft.com/office/officeart/2005/8/layout/vProcess5"/>
    <dgm:cxn modelId="{F50F1B21-A698-4006-B64A-4E70ABC61843}" type="presOf" srcId="{28C8E567-A8D9-4BF3-BC49-3F648965AC53}" destId="{082B17E4-7B8D-4320-ACC8-AC1DE8804167}" srcOrd="1" destOrd="0" presId="urn:microsoft.com/office/officeart/2005/8/layout/vProcess5"/>
    <dgm:cxn modelId="{EA798822-37CC-4DDE-8505-065309BEDB7C}" type="presOf" srcId="{8135A602-FFD7-4851-9903-209A8A407368}" destId="{50532977-FFED-4F21-AB9C-9C43DE868175}" srcOrd="0" destOrd="0" presId="urn:microsoft.com/office/officeart/2005/8/layout/vProcess5"/>
    <dgm:cxn modelId="{B7D88161-441C-4B23-8C15-4B1955B5D24F}" type="presOf" srcId="{28C8E567-A8D9-4BF3-BC49-3F648965AC53}" destId="{F29FC252-EFDA-4A4B-ABDC-EE73C1920778}" srcOrd="0" destOrd="0" presId="urn:microsoft.com/office/officeart/2005/8/layout/vProcess5"/>
    <dgm:cxn modelId="{78420F64-528A-45F9-AE00-E59F3D307135}" type="presOf" srcId="{520D4EF3-EFD3-4636-8545-35DD154B0400}" destId="{6722D2A7-9DDB-4E9F-B71B-AA57DAA9BD39}" srcOrd="0" destOrd="0" presId="urn:microsoft.com/office/officeart/2005/8/layout/vProcess5"/>
    <dgm:cxn modelId="{87B9A446-F7CB-4099-8AC7-4F36482E2D56}" type="presOf" srcId="{568D1720-EF04-4DB6-8605-40E3BD130E48}" destId="{36800502-E531-411C-AD20-0CECBFE048E1}" srcOrd="0" destOrd="0" presId="urn:microsoft.com/office/officeart/2005/8/layout/vProcess5"/>
    <dgm:cxn modelId="{AF600B7D-54E8-404B-84F7-C4CC1D223855}" srcId="{5D5A4010-7B0E-44DA-BEC0-A9630B612F86}" destId="{520D4EF3-EFD3-4636-8545-35DD154B0400}" srcOrd="2" destOrd="0" parTransId="{7B6043A0-533A-49A4-AEA9-5DD834B33189}" sibTransId="{176630D4-2583-4198-A858-7E1F7462FE00}"/>
    <dgm:cxn modelId="{B5321DAF-D0C2-45DA-A6FB-66919E902051}" type="presOf" srcId="{1B7AC11C-EAFB-44A4-95DA-09300BBC8C53}" destId="{AE6D52FC-2110-44A8-B8E1-D162FC965746}" srcOrd="1" destOrd="0" presId="urn:microsoft.com/office/officeart/2005/8/layout/vProcess5"/>
    <dgm:cxn modelId="{069751AF-7179-466C-AFE3-1AEB0054C437}" type="presOf" srcId="{176630D4-2583-4198-A858-7E1F7462FE00}" destId="{F90CC9AF-B1A7-4C1F-92EB-851AFEA21B4B}" srcOrd="0" destOrd="0" presId="urn:microsoft.com/office/officeart/2005/8/layout/vProcess5"/>
    <dgm:cxn modelId="{82CEFDB1-9961-41D1-99DD-0E432ED60246}" type="presOf" srcId="{1B7AC11C-EAFB-44A4-95DA-09300BBC8C53}" destId="{530D920D-96BE-4FCB-AB6C-E00FEBCB309B}" srcOrd="0" destOrd="0" presId="urn:microsoft.com/office/officeart/2005/8/layout/vProcess5"/>
    <dgm:cxn modelId="{56B18EDB-670F-4C1E-9670-C26D10E0A0B1}" type="presOf" srcId="{5BA0346B-0CA7-488E-A7F9-FC6ED6066559}" destId="{A5EEA861-F914-4ECC-9B98-17A0AF868CB6}" srcOrd="0" destOrd="0" presId="urn:microsoft.com/office/officeart/2005/8/layout/vProcess5"/>
    <dgm:cxn modelId="{D27B48DD-5752-4D9B-BEFF-6072943328D9}" srcId="{5D5A4010-7B0E-44DA-BEC0-A9630B612F86}" destId="{5BA0346B-0CA7-488E-A7F9-FC6ED6066559}" srcOrd="1" destOrd="0" parTransId="{4780E799-8076-46AF-BD8F-7ED298BE7ECF}" sibTransId="{8135A602-FFD7-4851-9903-209A8A407368}"/>
    <dgm:cxn modelId="{596A94EF-3114-4ECA-BF09-3D2DB8EDDE92}" srcId="{5D5A4010-7B0E-44DA-BEC0-A9630B612F86}" destId="{28C8E567-A8D9-4BF3-BC49-3F648965AC53}" srcOrd="3" destOrd="0" parTransId="{B7DEB103-9BB5-433A-9A01-390D26A095B3}" sibTransId="{5B771138-3A86-4FD8-AB03-0B5D049C3560}"/>
    <dgm:cxn modelId="{CD7C2644-C51A-4CFE-8D28-42A2733A3BC2}" type="presParOf" srcId="{DD4D0BEB-EB78-4BF3-AE14-11E090BF9DDA}" destId="{F4A35315-7E1D-4580-8C1A-670EA92810EE}" srcOrd="0" destOrd="0" presId="urn:microsoft.com/office/officeart/2005/8/layout/vProcess5"/>
    <dgm:cxn modelId="{C478710D-C034-4E3F-B047-9564D4863903}" type="presParOf" srcId="{DD4D0BEB-EB78-4BF3-AE14-11E090BF9DDA}" destId="{530D920D-96BE-4FCB-AB6C-E00FEBCB309B}" srcOrd="1" destOrd="0" presId="urn:microsoft.com/office/officeart/2005/8/layout/vProcess5"/>
    <dgm:cxn modelId="{902EF2A7-3956-4823-A988-59166655E325}" type="presParOf" srcId="{DD4D0BEB-EB78-4BF3-AE14-11E090BF9DDA}" destId="{A5EEA861-F914-4ECC-9B98-17A0AF868CB6}" srcOrd="2" destOrd="0" presId="urn:microsoft.com/office/officeart/2005/8/layout/vProcess5"/>
    <dgm:cxn modelId="{A46479DD-DE25-42DB-AA95-0E5FBF117988}" type="presParOf" srcId="{DD4D0BEB-EB78-4BF3-AE14-11E090BF9DDA}" destId="{6722D2A7-9DDB-4E9F-B71B-AA57DAA9BD39}" srcOrd="3" destOrd="0" presId="urn:microsoft.com/office/officeart/2005/8/layout/vProcess5"/>
    <dgm:cxn modelId="{B03E6645-E969-4281-9534-DB3C3BC8D141}" type="presParOf" srcId="{DD4D0BEB-EB78-4BF3-AE14-11E090BF9DDA}" destId="{F29FC252-EFDA-4A4B-ABDC-EE73C1920778}" srcOrd="4" destOrd="0" presId="urn:microsoft.com/office/officeart/2005/8/layout/vProcess5"/>
    <dgm:cxn modelId="{BAFCACBF-637F-4D15-BDF0-869EF242FE70}" type="presParOf" srcId="{DD4D0BEB-EB78-4BF3-AE14-11E090BF9DDA}" destId="{36800502-E531-411C-AD20-0CECBFE048E1}" srcOrd="5" destOrd="0" presId="urn:microsoft.com/office/officeart/2005/8/layout/vProcess5"/>
    <dgm:cxn modelId="{368540E7-92EC-4DB5-BC50-FCEC6A4CE54D}" type="presParOf" srcId="{DD4D0BEB-EB78-4BF3-AE14-11E090BF9DDA}" destId="{50532977-FFED-4F21-AB9C-9C43DE868175}" srcOrd="6" destOrd="0" presId="urn:microsoft.com/office/officeart/2005/8/layout/vProcess5"/>
    <dgm:cxn modelId="{CE5709FD-DF32-4B28-9AE2-1B6C8DC6EE63}" type="presParOf" srcId="{DD4D0BEB-EB78-4BF3-AE14-11E090BF9DDA}" destId="{F90CC9AF-B1A7-4C1F-92EB-851AFEA21B4B}" srcOrd="7" destOrd="0" presId="urn:microsoft.com/office/officeart/2005/8/layout/vProcess5"/>
    <dgm:cxn modelId="{6BFC9CA6-B5A0-4E0C-B42B-459993DFB6F2}" type="presParOf" srcId="{DD4D0BEB-EB78-4BF3-AE14-11E090BF9DDA}" destId="{AE6D52FC-2110-44A8-B8E1-D162FC965746}" srcOrd="8" destOrd="0" presId="urn:microsoft.com/office/officeart/2005/8/layout/vProcess5"/>
    <dgm:cxn modelId="{AF83A9F0-466A-4715-BDED-3F07401F51EA}" type="presParOf" srcId="{DD4D0BEB-EB78-4BF3-AE14-11E090BF9DDA}" destId="{FCAE1AD7-59C9-4E63-BC92-FC90F8270391}" srcOrd="9" destOrd="0" presId="urn:microsoft.com/office/officeart/2005/8/layout/vProcess5"/>
    <dgm:cxn modelId="{92C6229A-AD33-4BEB-AFA5-793AF2A18D6D}" type="presParOf" srcId="{DD4D0BEB-EB78-4BF3-AE14-11E090BF9DDA}" destId="{D8E4D7D3-869E-4D09-BE8E-0B725EBBE484}" srcOrd="10" destOrd="0" presId="urn:microsoft.com/office/officeart/2005/8/layout/vProcess5"/>
    <dgm:cxn modelId="{A5B3A084-C1C7-4748-B079-437C3FFAD78C}" type="presParOf" srcId="{DD4D0BEB-EB78-4BF3-AE14-11E090BF9DDA}" destId="{082B17E4-7B8D-4320-ACC8-AC1DE8804167}" srcOrd="11" destOrd="0" presId="urn:microsoft.com/office/officeart/2005/8/layout/vProcess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0D8C90-9206-4CDE-9DC0-968071D369DB}">
      <dsp:nvSpPr>
        <dsp:cNvPr id="0" name=""/>
        <dsp:cNvSpPr/>
      </dsp:nvSpPr>
      <dsp:spPr>
        <a:xfrm>
          <a:off x="0" y="210078"/>
          <a:ext cx="11259446" cy="81270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3858" tIns="249936" rIns="87385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The insurance industry is uniquely positioned to understand and assess risk, making it a powerful tool for promoting sustainability.</a:t>
          </a:r>
          <a:endParaRPr lang="en-KE" sz="1600" kern="1200" dirty="0"/>
        </a:p>
      </dsp:txBody>
      <dsp:txXfrm>
        <a:off x="0" y="210078"/>
        <a:ext cx="11259446" cy="812700"/>
      </dsp:txXfrm>
    </dsp:sp>
    <dsp:sp modelId="{F8EC227E-F237-4309-AA20-CE9FC78B8FAA}">
      <dsp:nvSpPr>
        <dsp:cNvPr id="0" name=""/>
        <dsp:cNvSpPr/>
      </dsp:nvSpPr>
      <dsp:spPr>
        <a:xfrm>
          <a:off x="562972" y="32958"/>
          <a:ext cx="7881612" cy="35424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906" tIns="0" rIns="297906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Understanding Risk</a:t>
          </a:r>
          <a:endParaRPr lang="en-KE" sz="1600" kern="1200" dirty="0"/>
        </a:p>
      </dsp:txBody>
      <dsp:txXfrm>
        <a:off x="580265" y="50251"/>
        <a:ext cx="7847026" cy="319654"/>
      </dsp:txXfrm>
    </dsp:sp>
    <dsp:sp modelId="{80CA6308-DC6F-48BF-9515-B2A860C8A329}">
      <dsp:nvSpPr>
        <dsp:cNvPr id="0" name=""/>
        <dsp:cNvSpPr/>
      </dsp:nvSpPr>
      <dsp:spPr>
        <a:xfrm>
          <a:off x="0" y="1264698"/>
          <a:ext cx="11259446" cy="81270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3858" tIns="249936" rIns="87385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 Insurers in Africa can encourage sustainability by offering lower premiums to clients who adopt environmentally-friendly practices or invest in renewable energy.</a:t>
          </a:r>
          <a:endParaRPr lang="en-KE" sz="1600" kern="1200" dirty="0"/>
        </a:p>
      </dsp:txBody>
      <dsp:txXfrm>
        <a:off x="0" y="1264698"/>
        <a:ext cx="11259446" cy="812700"/>
      </dsp:txXfrm>
    </dsp:sp>
    <dsp:sp modelId="{54135480-3C6B-4356-8582-8A9AE012C7F6}">
      <dsp:nvSpPr>
        <dsp:cNvPr id="0" name=""/>
        <dsp:cNvSpPr/>
      </dsp:nvSpPr>
      <dsp:spPr>
        <a:xfrm>
          <a:off x="562972" y="1087578"/>
          <a:ext cx="7881612" cy="35424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906" tIns="0" rIns="297906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Mitigating Risk</a:t>
          </a:r>
          <a:endParaRPr lang="en-KE" sz="1600" kern="1200" dirty="0"/>
        </a:p>
      </dsp:txBody>
      <dsp:txXfrm>
        <a:off x="580265" y="1104871"/>
        <a:ext cx="7847026" cy="319654"/>
      </dsp:txXfrm>
    </dsp:sp>
    <dsp:sp modelId="{B0AF988C-CC86-420B-96B1-6F6D6AC4494F}">
      <dsp:nvSpPr>
        <dsp:cNvPr id="0" name=""/>
        <dsp:cNvSpPr/>
      </dsp:nvSpPr>
      <dsp:spPr>
        <a:xfrm>
          <a:off x="0" y="2319319"/>
          <a:ext cx="11259446" cy="81270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3858" tIns="249936" rIns="87385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 Insurers can support sustainable development by investing in green bonds, which finance environmentally-friendly projects.</a:t>
          </a:r>
          <a:endParaRPr lang="en-KE" sz="1600" kern="1200" dirty="0"/>
        </a:p>
      </dsp:txBody>
      <dsp:txXfrm>
        <a:off x="0" y="2319319"/>
        <a:ext cx="11259446" cy="812700"/>
      </dsp:txXfrm>
    </dsp:sp>
    <dsp:sp modelId="{E5C79ADD-E2B3-400E-B666-F632AD9A8F92}">
      <dsp:nvSpPr>
        <dsp:cNvPr id="0" name=""/>
        <dsp:cNvSpPr/>
      </dsp:nvSpPr>
      <dsp:spPr>
        <a:xfrm>
          <a:off x="562972" y="2142198"/>
          <a:ext cx="7881612" cy="35424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906" tIns="0" rIns="297906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Supporting Sustainable Development</a:t>
          </a:r>
          <a:endParaRPr lang="en-KE" sz="1600" kern="1200" dirty="0"/>
        </a:p>
      </dsp:txBody>
      <dsp:txXfrm>
        <a:off x="580265" y="2159491"/>
        <a:ext cx="7847026" cy="319654"/>
      </dsp:txXfrm>
    </dsp:sp>
    <dsp:sp modelId="{72C9297D-B48D-4FBB-AD81-1930F11F003F}">
      <dsp:nvSpPr>
        <dsp:cNvPr id="0" name=""/>
        <dsp:cNvSpPr/>
      </dsp:nvSpPr>
      <dsp:spPr>
        <a:xfrm>
          <a:off x="0" y="3373939"/>
          <a:ext cx="11259446" cy="81270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3858" tIns="249936" rIns="87385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Insurers can encourage resilience by offering policies that incentivize clients to adopt measures that mitigate the impact of natural disasters.</a:t>
          </a:r>
          <a:endParaRPr lang="en-KE" sz="1600" kern="1200" dirty="0"/>
        </a:p>
      </dsp:txBody>
      <dsp:txXfrm>
        <a:off x="0" y="3373939"/>
        <a:ext cx="11259446" cy="812700"/>
      </dsp:txXfrm>
    </dsp:sp>
    <dsp:sp modelId="{CBFA1D61-DA3F-4342-9F29-2C828917AC75}">
      <dsp:nvSpPr>
        <dsp:cNvPr id="0" name=""/>
        <dsp:cNvSpPr/>
      </dsp:nvSpPr>
      <dsp:spPr>
        <a:xfrm>
          <a:off x="562972" y="3196819"/>
          <a:ext cx="7881612" cy="35424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906" tIns="0" rIns="297906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Encouraging Resilience</a:t>
          </a:r>
          <a:endParaRPr lang="en-KE" sz="1600" kern="1200" dirty="0"/>
        </a:p>
      </dsp:txBody>
      <dsp:txXfrm>
        <a:off x="580265" y="3214112"/>
        <a:ext cx="7847026" cy="319654"/>
      </dsp:txXfrm>
    </dsp:sp>
    <dsp:sp modelId="{75520B7E-7A90-4C8B-819C-A84B284FD1C2}">
      <dsp:nvSpPr>
        <dsp:cNvPr id="0" name=""/>
        <dsp:cNvSpPr/>
      </dsp:nvSpPr>
      <dsp:spPr>
        <a:xfrm>
          <a:off x="0" y="4428559"/>
          <a:ext cx="11259446" cy="595350"/>
        </a:xfrm>
        <a:prstGeom prst="rect">
          <a:avLst/>
        </a:prstGeom>
        <a:solidFill>
          <a:schemeClr val="lt2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3858" tIns="249936" rIns="87385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600" kern="1200" dirty="0"/>
            <a:t> The insurance industry can lead by example, adopting environmentally-friendly practices in its own operations.</a:t>
          </a:r>
          <a:endParaRPr lang="en-KE" sz="1600" kern="1200" dirty="0"/>
        </a:p>
      </dsp:txBody>
      <dsp:txXfrm>
        <a:off x="0" y="4428559"/>
        <a:ext cx="11259446" cy="595350"/>
      </dsp:txXfrm>
    </dsp:sp>
    <dsp:sp modelId="{E8297387-A4BC-453D-B1DE-15354971F41F}">
      <dsp:nvSpPr>
        <dsp:cNvPr id="0" name=""/>
        <dsp:cNvSpPr/>
      </dsp:nvSpPr>
      <dsp:spPr>
        <a:xfrm>
          <a:off x="562972" y="4251439"/>
          <a:ext cx="7881612" cy="354240"/>
        </a:xfrm>
        <a:prstGeom prst="roundRect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97906" tIns="0" rIns="297906" bIns="0" numCol="1" spcCol="1270" anchor="ctr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600" kern="1200" dirty="0"/>
            <a:t>Being a Role Model</a:t>
          </a:r>
          <a:endParaRPr lang="en-KE" sz="1600" kern="1200" dirty="0"/>
        </a:p>
      </dsp:txBody>
      <dsp:txXfrm>
        <a:off x="580265" y="4268732"/>
        <a:ext cx="7847026" cy="31965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30D920D-96BE-4FCB-AB6C-E00FEBCB309B}">
      <dsp:nvSpPr>
        <dsp:cNvPr id="0" name=""/>
        <dsp:cNvSpPr/>
      </dsp:nvSpPr>
      <dsp:spPr>
        <a:xfrm>
          <a:off x="0" y="0"/>
          <a:ext cx="7913674" cy="1192106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/>
            <a:t>Bulk of natural disaster losses remains uninsured -  In 2020, the insured losses from natural catastrophes in Africa were roughly 10% i.e. $2.4 billion, highlighting the need for risk mitigation </a:t>
          </a:r>
          <a:r>
            <a:rPr lang="en-GB" sz="1700" kern="1200"/>
            <a:t>strategies.</a:t>
          </a:r>
          <a:endParaRPr lang="en-KE" sz="1700" kern="1200" dirty="0"/>
        </a:p>
      </dsp:txBody>
      <dsp:txXfrm>
        <a:off x="34916" y="34916"/>
        <a:ext cx="6526564" cy="1122274"/>
      </dsp:txXfrm>
    </dsp:sp>
    <dsp:sp modelId="{A5EEA861-F914-4ECC-9B98-17A0AF868CB6}">
      <dsp:nvSpPr>
        <dsp:cNvPr id="0" name=""/>
        <dsp:cNvSpPr/>
      </dsp:nvSpPr>
      <dsp:spPr>
        <a:xfrm>
          <a:off x="662770" y="1408853"/>
          <a:ext cx="7913674" cy="1192106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/>
            <a:t>Greening the Financial System - In 2021, the African green bond market reached $7 billion against a world green bond market of $270 billion , highlighting the growing importance of sustainable investing.</a:t>
          </a:r>
          <a:endParaRPr lang="en-KE" sz="1700" kern="1200" dirty="0"/>
        </a:p>
      </dsp:txBody>
      <dsp:txXfrm>
        <a:off x="697686" y="1443769"/>
        <a:ext cx="6406202" cy="1122274"/>
      </dsp:txXfrm>
    </dsp:sp>
    <dsp:sp modelId="{6722D2A7-9DDB-4E9F-B71B-AA57DAA9BD39}">
      <dsp:nvSpPr>
        <dsp:cNvPr id="0" name=""/>
        <dsp:cNvSpPr/>
      </dsp:nvSpPr>
      <dsp:spPr>
        <a:xfrm>
          <a:off x="1315648" y="2817706"/>
          <a:ext cx="7913674" cy="1192106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/>
            <a:t>Sustainable insurance products - In 2020, renewable energy investments in Africa totalled $6.5 billion, with insurers playing a significant role in financing these projects</a:t>
          </a:r>
          <a:endParaRPr lang="en-KE" sz="1700" kern="1200" dirty="0"/>
        </a:p>
      </dsp:txBody>
      <dsp:txXfrm>
        <a:off x="1350564" y="2852622"/>
        <a:ext cx="6416094" cy="1122274"/>
      </dsp:txXfrm>
    </dsp:sp>
    <dsp:sp modelId="{F29FC252-EFDA-4A4B-ABDC-EE73C1920778}">
      <dsp:nvSpPr>
        <dsp:cNvPr id="0" name=""/>
        <dsp:cNvSpPr/>
      </dsp:nvSpPr>
      <dsp:spPr>
        <a:xfrm>
          <a:off x="1978418" y="4226560"/>
          <a:ext cx="7913674" cy="1192106"/>
        </a:xfrm>
        <a:prstGeom prst="roundRect">
          <a:avLst>
            <a:gd name="adj" fmla="val 10000"/>
          </a:avLst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l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700" kern="1200" dirty="0"/>
            <a:t>Sustainable Strategies -  In 2021, 33% of African insurers reported having a sustainability strategy in place, with many setting ambitious targets for reducing their carbon footprint.</a:t>
          </a:r>
          <a:endParaRPr lang="en-KE" sz="1700" kern="1200" dirty="0"/>
        </a:p>
      </dsp:txBody>
      <dsp:txXfrm>
        <a:off x="2013334" y="4261476"/>
        <a:ext cx="6406202" cy="1122274"/>
      </dsp:txXfrm>
    </dsp:sp>
    <dsp:sp modelId="{36800502-E531-411C-AD20-0CECBFE048E1}">
      <dsp:nvSpPr>
        <dsp:cNvPr id="0" name=""/>
        <dsp:cNvSpPr/>
      </dsp:nvSpPr>
      <dsp:spPr>
        <a:xfrm>
          <a:off x="7138805" y="913045"/>
          <a:ext cx="774869" cy="774869"/>
        </a:xfrm>
        <a:prstGeom prst="downArrow">
          <a:avLst>
            <a:gd name="adj1" fmla="val 55000"/>
            <a:gd name="adj2" fmla="val 45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450" tIns="44450" rIns="44450" bIns="444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KE" sz="3500" kern="1200"/>
        </a:p>
      </dsp:txBody>
      <dsp:txXfrm>
        <a:off x="7313151" y="913045"/>
        <a:ext cx="426177" cy="583089"/>
      </dsp:txXfrm>
    </dsp:sp>
    <dsp:sp modelId="{50532977-FFED-4F21-AB9C-9C43DE868175}">
      <dsp:nvSpPr>
        <dsp:cNvPr id="0" name=""/>
        <dsp:cNvSpPr/>
      </dsp:nvSpPr>
      <dsp:spPr>
        <a:xfrm>
          <a:off x="7801575" y="2321898"/>
          <a:ext cx="774869" cy="774869"/>
        </a:xfrm>
        <a:prstGeom prst="downArrow">
          <a:avLst>
            <a:gd name="adj1" fmla="val 55000"/>
            <a:gd name="adj2" fmla="val 45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450" tIns="44450" rIns="44450" bIns="444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KE" sz="3500" kern="1200"/>
        </a:p>
      </dsp:txBody>
      <dsp:txXfrm>
        <a:off x="7975921" y="2321898"/>
        <a:ext cx="426177" cy="583089"/>
      </dsp:txXfrm>
    </dsp:sp>
    <dsp:sp modelId="{F90CC9AF-B1A7-4C1F-92EB-851AFEA21B4B}">
      <dsp:nvSpPr>
        <dsp:cNvPr id="0" name=""/>
        <dsp:cNvSpPr/>
      </dsp:nvSpPr>
      <dsp:spPr>
        <a:xfrm>
          <a:off x="8454453" y="3730752"/>
          <a:ext cx="774869" cy="774869"/>
        </a:xfrm>
        <a:prstGeom prst="downArrow">
          <a:avLst>
            <a:gd name="adj1" fmla="val 55000"/>
            <a:gd name="adj2" fmla="val 45000"/>
          </a:avLst>
        </a:prstGeom>
        <a:solidFill>
          <a:schemeClr val="dk2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dk2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4450" tIns="44450" rIns="44450" bIns="44450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KE" sz="3500" kern="1200"/>
        </a:p>
      </dsp:txBody>
      <dsp:txXfrm>
        <a:off x="8628799" y="3730752"/>
        <a:ext cx="426177" cy="5830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FAFBAAA-8C46-3045-B664-F2253EA4315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DA1F325-8F79-F941-8AD2-4211E96E9A6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D068862-0926-AF4C-934B-AC81688B6F46}" type="datetimeFigureOut">
              <a:rPr lang="en-US" smtClean="0"/>
              <a:t>5/29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23DD66C-76B0-7241-B75F-7F74CCF91095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2FE442B-2318-3B4F-A8B5-0BD8B4801D5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43C083A-253A-394C-9D99-7DBF4A45492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055743"/>
      </p:ext>
    </p:extLst>
  </p:cSld>
  <p:clrMap bg1="lt1" tx1="dk1" bg2="lt2" tx2="dk2" accent1="accent1" accent2="accent2" accent3="accent3" accent4="accent4" accent5="accent5" accent6="accent6" hlink="hlink" folHlink="folHlink"/>
  <p:hf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US"/>
              <a:t>Title of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C5509E-097C-7548-BBF3-09D5EA3343F0}" type="datetimeFigureOut">
              <a:rPr lang="en-US" smtClean="0"/>
              <a:t>5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7EF222-C657-584B-8DED-DD9B6F3471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390857"/>
      </p:ext>
    </p:extLst>
  </p:cSld>
  <p:clrMap bg1="lt1" tx1="dk1" bg2="lt2" tx2="dk2" accent1="accent1" accent2="accent2" accent3="accent3" accent4="accent4" accent5="accent5" accent6="accent6" hlink="hlink" folHlink="folHlink"/>
  <p:hf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. Title with image (opt 1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EB66810-E9D3-3D4E-A74C-9D1C631FF40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12192000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11497" y="3183255"/>
            <a:ext cx="6529642" cy="2314575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6000" b="1" i="0">
                <a:solidFill>
                  <a:schemeClr val="bg1"/>
                </a:solidFill>
                <a:latin typeface="Museo Sans 7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17160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/>
              <a:t>00 Month Yea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F742D3-3CFE-B54A-B1CB-F8649CD2D4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110798" y="5870447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Museo Sans 700" panose="02000000000000000000" pitchFamily="2" charset="77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3553660-1946-CE48-9F01-BD9D3EBF60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110798" y="6210680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Author positio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0268FB1-F7BC-9A4A-8206-A806CE8945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0863" y="620713"/>
            <a:ext cx="2786697" cy="143668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Museo Sans 700" panose="02000000000000000000" pitchFamily="2" charset="77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Sub-title / location etc. 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6523A2E3-0A1D-BC4E-918A-71C54DC70373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885804" y="243681"/>
            <a:ext cx="1024255" cy="754063"/>
          </a:xfrm>
          <a:prstGeom prst="rect">
            <a:avLst/>
          </a:prstGeom>
        </p:spPr>
        <p:txBody>
          <a:bodyPr/>
          <a:lstStyle/>
          <a:p>
            <a:endParaRPr lang="en-KE" dirty="0"/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A22D9BBF-5CF7-0F4E-ADA0-CD0A54B2345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599805" y="243681"/>
            <a:ext cx="2102485" cy="754063"/>
          </a:xfrm>
          <a:prstGeom prst="rect">
            <a:avLst/>
          </a:prstGeom>
        </p:spPr>
        <p:txBody>
          <a:bodyPr/>
          <a:lstStyle/>
          <a:p>
            <a:endParaRPr lang="en-KE" dirty="0"/>
          </a:p>
        </p:txBody>
      </p:sp>
    </p:spTree>
    <p:extLst>
      <p:ext uri="{BB962C8B-B14F-4D97-AF65-F5344CB8AC3E}">
        <p14:creationId xmlns:p14="http://schemas.microsoft.com/office/powerpoint/2010/main" val="15361677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5. Text + image (opt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F9B131-5CE9-304A-A7C7-B6E43270E8A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3313" y="0"/>
            <a:ext cx="6008687" cy="6858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5444363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1749" y="1847850"/>
            <a:ext cx="3518126" cy="38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5449887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4DB60A1-262C-9644-901E-9B462BC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003825"/>
            <a:ext cx="3541712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redit lin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66F9590A-1DF2-1047-9E12-33FD15402A9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99605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5. Text + image (opt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F9B131-5CE9-304A-A7C7-B6E43270E8A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83313" y="1628775"/>
            <a:ext cx="6008687" cy="5229224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1749" y="1847850"/>
            <a:ext cx="3518126" cy="38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5449887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4DB60A1-262C-9644-901E-9B462BC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003825"/>
            <a:ext cx="3541712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redit lin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5980A4E-3836-DD48-9103-C580B5B3B7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97825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5. Text + multiple images (opt 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F9B131-5CE9-304A-A7C7-B6E43270E8A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324579" y="1639661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1749" y="1847850"/>
            <a:ext cx="3518126" cy="38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3529012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4DB60A1-262C-9644-901E-9B462BC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003825"/>
            <a:ext cx="3541712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redit lin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5980A4E-3836-DD48-9103-C580B5B3B7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sp>
        <p:nvSpPr>
          <p:cNvPr id="19" name="Picture Placeholder 6">
            <a:extLst>
              <a:ext uri="{FF2B5EF4-FFF2-40B4-BE49-F238E27FC236}">
                <a16:creationId xmlns:a16="http://schemas.microsoft.com/office/drawing/2014/main" id="{BC799602-CBF7-904D-8547-B46A599ED0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324579" y="3717032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FE2A276C-2216-BF45-9152-E2ED854A165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40016" y="1639661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743B61CB-0350-F14E-BFFF-1DD8F5F72FE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40016" y="3717032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99D752B1-8552-3B40-AA0A-F4C3720EF56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099168" y="1639661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5" name="Picture Placeholder 6">
            <a:extLst>
              <a:ext uri="{FF2B5EF4-FFF2-40B4-BE49-F238E27FC236}">
                <a16:creationId xmlns:a16="http://schemas.microsoft.com/office/drawing/2014/main" id="{6C6922C2-1CA8-9344-AC17-CDDF06651DC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099168" y="3717032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6" name="Picture Placeholder 6">
            <a:extLst>
              <a:ext uri="{FF2B5EF4-FFF2-40B4-BE49-F238E27FC236}">
                <a16:creationId xmlns:a16="http://schemas.microsoft.com/office/drawing/2014/main" id="{579F64D6-B1C7-0A4C-B979-50EABE941CA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9959645" y="1639661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0D8A30A1-029E-584E-9EDD-18B51D63B7A7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9959645" y="3717032"/>
            <a:ext cx="1620000" cy="1980000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FontTx/>
              <a:buNone/>
              <a:defRPr sz="16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4891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5. Text + multiple images (opt 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A6F9B131-5CE9-304A-A7C7-B6E43270E8A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551650" y="1639662"/>
            <a:ext cx="3199528" cy="3910534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1749" y="1847850"/>
            <a:ext cx="3518126" cy="38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3529012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4DB60A1-262C-9644-901E-9B462BC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003825"/>
            <a:ext cx="3541712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redit lin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5980A4E-3836-DD48-9103-C580B5B3B7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sp>
        <p:nvSpPr>
          <p:cNvPr id="29" name="Picture Placeholder 6">
            <a:extLst>
              <a:ext uri="{FF2B5EF4-FFF2-40B4-BE49-F238E27FC236}">
                <a16:creationId xmlns:a16="http://schemas.microsoft.com/office/drawing/2014/main" id="{CB6D578F-6D24-BC4E-AEFF-CA9556DF375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256240" y="1639662"/>
            <a:ext cx="3199528" cy="3910534"/>
          </a:xfrm>
          <a:prstGeom prst="rect">
            <a:avLst/>
          </a:prstGeom>
          <a:solidFill>
            <a:schemeClr val="accent3"/>
          </a:solidFill>
          <a:effectLst>
            <a:outerShdw blurRad="127000" dist="38100" dir="2700000" algn="tl" rotWithShape="0">
              <a:prstClr val="black">
                <a:alpha val="70000"/>
              </a:prstClr>
            </a:outerShdw>
          </a:effectLst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11885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6. World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D259C42-25FF-F34E-AB9F-86C7CCACF0FE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561496" y="1628776"/>
            <a:ext cx="11080800" cy="4590000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1600"/>
            </a:lvl1pPr>
          </a:lstStyle>
          <a:p>
            <a:r>
              <a:rPr lang="en-US" dirty="0"/>
              <a:t>Map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4DB60A1-262C-9644-901E-9B462BC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50863" y="6003825"/>
            <a:ext cx="3541712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redit lin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752D45F-C52A-4345-95DD-B55B8582E58A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3" y="5877832"/>
            <a:ext cx="3541712" cy="0"/>
          </a:xfrm>
          <a:prstGeom prst="line">
            <a:avLst/>
          </a:prstGeom>
          <a:ln w="7620">
            <a:solidFill>
              <a:schemeClr val="accent5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E5980A4E-3836-DD48-9103-C580B5B3B7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76BA647-A19A-8B40-B966-AD1AA8BC9F7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7180" y="4638118"/>
            <a:ext cx="2723965" cy="882502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</a:t>
            </a:r>
          </a:p>
          <a:p>
            <a:pPr marL="0" marR="0" lvl="0" indent="0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Edit Master text styles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53752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6. Africa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1852654"/>
            <a:ext cx="3529012" cy="309113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3529012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E5980A4E-3836-DD48-9103-C580B5B3B7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745462F-3C41-5B41-B975-E424E1EAB6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056262" y="5694982"/>
            <a:ext cx="2847901" cy="22735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ts val="1600"/>
              </a:lnSpc>
              <a:spcBef>
                <a:spcPts val="1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0" i="0">
                <a:solidFill>
                  <a:schemeClr val="tx2"/>
                </a:solidFill>
                <a:latin typeface="Museo Sans 300" panose="02000000000000000000" pitchFamily="2" charset="77"/>
              </a:defRPr>
            </a:lvl1pPr>
            <a:lvl2pPr marL="45720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2pPr>
            <a:lvl3pPr marL="91440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3pPr>
            <a:lvl4pPr marL="137160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4pPr>
            <a:lvl5pPr marL="182880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127CECF-399B-254A-9C01-D6FF7F94D22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204209" y="1628774"/>
            <a:ext cx="3514466" cy="394924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156BF89-0EF9-3C49-B945-67F20F69D4E0}"/>
              </a:ext>
            </a:extLst>
          </p:cNvPr>
          <p:cNvSpPr txBox="1">
            <a:spLocks/>
          </p:cNvSpPr>
          <p:nvPr userDrawn="1"/>
        </p:nvSpPr>
        <p:spPr>
          <a:xfrm>
            <a:off x="4556126" y="3670556"/>
            <a:ext cx="3541712" cy="13583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kern="1200" baseline="0">
                <a:solidFill>
                  <a:schemeClr val="tx1"/>
                </a:solidFill>
                <a:latin typeface="Museo Sans 700" panose="02000000000000000000" pitchFamily="2" charset="77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ABAE24A-1AA7-6C4A-A3A3-92952EB6EA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0863" y="5199063"/>
            <a:ext cx="3529012" cy="10207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4572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2pPr>
            <a:lvl3pPr marL="9144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3pPr>
            <a:lvl4pPr marL="13716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4pPr>
            <a:lvl5pPr marL="18288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663EEF03-A2C7-0447-828F-3EF3F633D82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60950" y="5986463"/>
            <a:ext cx="2843213" cy="2333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600"/>
              </a:lnSpc>
              <a:buNone/>
              <a:defRPr sz="1200" b="0" i="0">
                <a:solidFill>
                  <a:schemeClr val="tx2"/>
                </a:solidFill>
                <a:latin typeface="Museo Sans 300" panose="02000000000000000000" pitchFamily="2" charset="77"/>
              </a:defRPr>
            </a:lvl1pPr>
            <a:lvl2pPr marL="457200" indent="0">
              <a:lnSpc>
                <a:spcPts val="1600"/>
              </a:lnSpc>
              <a:buNone/>
              <a:defRPr sz="1200" b="0" i="0">
                <a:solidFill>
                  <a:schemeClr val="tx2"/>
                </a:solidFill>
                <a:latin typeface="Museo Sans 300" panose="02000000000000000000" pitchFamily="2" charset="77"/>
              </a:defRPr>
            </a:lvl2pPr>
            <a:lvl3pPr marL="914400" indent="0">
              <a:lnSpc>
                <a:spcPts val="1600"/>
              </a:lnSpc>
              <a:buNone/>
              <a:defRPr sz="1200" b="0" i="0">
                <a:solidFill>
                  <a:schemeClr val="tx2"/>
                </a:solidFill>
                <a:latin typeface="Museo Sans 300" panose="02000000000000000000" pitchFamily="2" charset="77"/>
              </a:defRPr>
            </a:lvl3pPr>
            <a:lvl4pPr marL="1371600" indent="0">
              <a:lnSpc>
                <a:spcPts val="1600"/>
              </a:lnSpc>
              <a:buNone/>
              <a:defRPr sz="1200" b="0" i="0">
                <a:solidFill>
                  <a:schemeClr val="tx2"/>
                </a:solidFill>
                <a:latin typeface="Museo Sans 300" panose="02000000000000000000" pitchFamily="2" charset="77"/>
              </a:defRPr>
            </a:lvl4pPr>
            <a:lvl5pPr marL="1828800" indent="0">
              <a:lnSpc>
                <a:spcPts val="1600"/>
              </a:lnSpc>
              <a:buNone/>
              <a:defRPr sz="1200" b="0" i="0">
                <a:solidFill>
                  <a:schemeClr val="tx2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15A4B90D-EDD2-CA4D-B629-D8366DEB732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43476" y="4200526"/>
            <a:ext cx="1595548" cy="43527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1pPr>
            <a:lvl2pPr marL="0" indent="0">
              <a:lnSpc>
                <a:spcPts val="1600"/>
              </a:lnSpc>
              <a:spcBef>
                <a:spcPts val="0"/>
              </a:spcBef>
              <a:buNone/>
              <a:defRPr sz="1200" b="0" i="0">
                <a:solidFill>
                  <a:schemeClr val="tx2"/>
                </a:solidFill>
                <a:latin typeface="Museo Sans 300" panose="02000000000000000000" pitchFamily="2" charset="77"/>
              </a:defRPr>
            </a:lvl2pPr>
            <a:lvl3pPr marL="914400" indent="0">
              <a:lnSpc>
                <a:spcPts val="1600"/>
              </a:lnSpc>
              <a:buNone/>
              <a:defRPr sz="1200" b="0" i="0">
                <a:latin typeface="Museo Sans 300" panose="02000000000000000000" pitchFamily="2" charset="77"/>
              </a:defRPr>
            </a:lvl3pPr>
            <a:lvl4pPr marL="1371600" indent="0">
              <a:lnSpc>
                <a:spcPts val="1600"/>
              </a:lnSpc>
              <a:buNone/>
              <a:defRPr sz="1200" b="0" i="0">
                <a:latin typeface="Museo Sans 300" panose="02000000000000000000" pitchFamily="2" charset="77"/>
              </a:defRPr>
            </a:lvl4pPr>
            <a:lvl5pPr marL="1828800" indent="0">
              <a:lnSpc>
                <a:spcPts val="1600"/>
              </a:lnSpc>
              <a:buNone/>
              <a:defRPr sz="1200" b="0" i="0"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560873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06. Africa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1852654"/>
            <a:ext cx="10968202" cy="309113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E5980A4E-3836-DD48-9103-C580B5B3B7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156BF89-0EF9-3C49-B945-67F20F69D4E0}"/>
              </a:ext>
            </a:extLst>
          </p:cNvPr>
          <p:cNvSpPr txBox="1">
            <a:spLocks/>
          </p:cNvSpPr>
          <p:nvPr userDrawn="1"/>
        </p:nvSpPr>
        <p:spPr>
          <a:xfrm>
            <a:off x="4556126" y="3670556"/>
            <a:ext cx="3541712" cy="13583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kern="1200" baseline="0">
                <a:solidFill>
                  <a:schemeClr val="tx1"/>
                </a:solidFill>
                <a:latin typeface="Museo Sans 700" panose="02000000000000000000" pitchFamily="2" charset="77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ABAE24A-1AA7-6C4A-A3A3-92952EB6EA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0862" y="5199063"/>
            <a:ext cx="10968201" cy="10207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4572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2pPr>
            <a:lvl3pPr marL="9144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3pPr>
            <a:lvl4pPr marL="13716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4pPr>
            <a:lvl5pPr marL="18288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153394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06. Africa 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1852654"/>
            <a:ext cx="3529012" cy="309113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3529012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E5980A4E-3836-DD48-9103-C580B5B3B7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156BF89-0EF9-3C49-B945-67F20F69D4E0}"/>
              </a:ext>
            </a:extLst>
          </p:cNvPr>
          <p:cNvSpPr txBox="1">
            <a:spLocks/>
          </p:cNvSpPr>
          <p:nvPr userDrawn="1"/>
        </p:nvSpPr>
        <p:spPr>
          <a:xfrm>
            <a:off x="4556126" y="3670556"/>
            <a:ext cx="3541712" cy="13583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kern="1200" baseline="0">
                <a:solidFill>
                  <a:schemeClr val="tx1"/>
                </a:solidFill>
                <a:latin typeface="Museo Sans 700" panose="02000000000000000000" pitchFamily="2" charset="77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ABAE24A-1AA7-6C4A-A3A3-92952EB6EA9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0863" y="5199063"/>
            <a:ext cx="3529012" cy="10207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400"/>
              </a:lnSpc>
              <a:spcBef>
                <a:spcPts val="0"/>
              </a:spcBef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4572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2pPr>
            <a:lvl3pPr marL="9144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3pPr>
            <a:lvl4pPr marL="13716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4pPr>
            <a:lvl5pPr marL="1828800" indent="0">
              <a:lnSpc>
                <a:spcPts val="2400"/>
              </a:lnSpc>
              <a:buNone/>
              <a:defRPr sz="2000" b="0" i="0">
                <a:solidFill>
                  <a:schemeClr val="bg2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7877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6.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59038" y="1852654"/>
            <a:ext cx="3541712" cy="436717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1109027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E5980A4E-3836-DD48-9103-C580B5B3B7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A171648-C2DF-FF4F-B2D7-3BF4A2E93C8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1497" y="1854521"/>
            <a:ext cx="1705454" cy="4365303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>
                <a:solidFill>
                  <a:schemeClr val="tx2"/>
                </a:solidFill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hart Placeholder 11">
            <a:extLst>
              <a:ext uri="{FF2B5EF4-FFF2-40B4-BE49-F238E27FC236}">
                <a16:creationId xmlns:a16="http://schemas.microsoft.com/office/drawing/2014/main" id="{8B7D3F48-3B70-E742-854A-7FC503D9DD2B}"/>
              </a:ext>
            </a:extLst>
          </p:cNvPr>
          <p:cNvSpPr>
            <a:spLocks noGrp="1"/>
          </p:cNvSpPr>
          <p:nvPr>
            <p:ph type="chart" sz="quarter" idx="19"/>
          </p:nvPr>
        </p:nvSpPr>
        <p:spPr>
          <a:xfrm>
            <a:off x="6183313" y="2240344"/>
            <a:ext cx="5457825" cy="397948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5D72059-F590-6A41-AE1A-DC13C30C09D0}"/>
              </a:ext>
            </a:extLst>
          </p:cNvPr>
          <p:cNvCxnSpPr>
            <a:cxnSpLocks/>
          </p:cNvCxnSpPr>
          <p:nvPr userDrawn="1"/>
        </p:nvCxnSpPr>
        <p:spPr>
          <a:xfrm>
            <a:off x="6183313" y="2128715"/>
            <a:ext cx="3535362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745462F-3C41-5B41-B975-E424E1EAB61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83313" y="1856629"/>
            <a:ext cx="3535362" cy="15505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1pPr>
            <a:lvl2pPr marL="45720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2pPr>
            <a:lvl3pPr marL="91440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3pPr>
            <a:lvl4pPr marL="137160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4pPr>
            <a:lvl5pPr marL="1828800" indent="0">
              <a:lnSpc>
                <a:spcPts val="1600"/>
              </a:lnSpc>
              <a:buNone/>
              <a:defRPr sz="1200" b="1" i="0">
                <a:solidFill>
                  <a:schemeClr val="tx2"/>
                </a:solidFill>
                <a:latin typeface="Museo Sans 7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718880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6. Non-FS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4945" y="1853293"/>
            <a:ext cx="3529012" cy="135774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3529012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E5980A4E-3836-DD48-9103-C580B5B3B7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156BF89-0EF9-3C49-B945-67F20F69D4E0}"/>
              </a:ext>
            </a:extLst>
          </p:cNvPr>
          <p:cNvSpPr txBox="1">
            <a:spLocks/>
          </p:cNvSpPr>
          <p:nvPr userDrawn="1"/>
        </p:nvSpPr>
        <p:spPr>
          <a:xfrm>
            <a:off x="4556126" y="3670556"/>
            <a:ext cx="3541712" cy="13583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kern="1200" baseline="0">
                <a:solidFill>
                  <a:schemeClr val="tx1"/>
                </a:solidFill>
                <a:latin typeface="Museo Sans 700" panose="02000000000000000000" pitchFamily="2" charset="77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030CAADD-1CEE-C942-A364-76D6819B1BF7}"/>
              </a:ext>
            </a:extLst>
          </p:cNvPr>
          <p:cNvCxnSpPr>
            <a:cxnSpLocks/>
          </p:cNvCxnSpPr>
          <p:nvPr userDrawn="1"/>
        </p:nvCxnSpPr>
        <p:spPr>
          <a:xfrm>
            <a:off x="4261287" y="1628775"/>
            <a:ext cx="7379851" cy="0"/>
          </a:xfrm>
          <a:prstGeom prst="line">
            <a:avLst/>
          </a:prstGeom>
          <a:ln w="38100">
            <a:solidFill>
              <a:srgbClr val="26A6EC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A1E2488-4492-2141-951F-CA754AD5B3F6}"/>
              </a:ext>
            </a:extLst>
          </p:cNvPr>
          <p:cNvCxnSpPr>
            <a:cxnSpLocks/>
          </p:cNvCxnSpPr>
          <p:nvPr userDrawn="1"/>
        </p:nvCxnSpPr>
        <p:spPr>
          <a:xfrm>
            <a:off x="4261287" y="5785116"/>
            <a:ext cx="7379851" cy="0"/>
          </a:xfrm>
          <a:prstGeom prst="line">
            <a:avLst/>
          </a:prstGeom>
          <a:ln w="19050">
            <a:solidFill>
              <a:srgbClr val="26A6EC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C8D95A0-6E66-A348-9D1D-98BCD45A366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59263" y="1852386"/>
            <a:ext cx="7381875" cy="37433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55BA403-7B50-4B46-9CC1-EAD32A8A092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259262" y="1628775"/>
            <a:ext cx="2822400" cy="360000"/>
          </a:xfrm>
          <a:prstGeom prst="rect">
            <a:avLst/>
          </a:prstGeom>
          <a:solidFill>
            <a:schemeClr val="accent5"/>
          </a:solidFill>
        </p:spPr>
        <p:txBody>
          <a:bodyPr lIns="108000" tIns="0" rIns="0" bIns="0" anchor="ctr"/>
          <a:lstStyle>
            <a:lvl1pPr marL="0" indent="0" algn="l">
              <a:buNone/>
              <a:defRPr sz="1200" b="0" i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200" b="0" i="0">
                <a:latin typeface="Museo Sans 300" panose="02000000000000000000" pitchFamily="2" charset="77"/>
              </a:defRPr>
            </a:lvl2pPr>
            <a:lvl3pPr marL="914400" indent="0">
              <a:buNone/>
              <a:defRPr sz="1200" b="0" i="0">
                <a:latin typeface="Museo Sans 300" panose="02000000000000000000" pitchFamily="2" charset="77"/>
              </a:defRPr>
            </a:lvl3pPr>
            <a:lvl4pPr marL="1371600" indent="0">
              <a:buNone/>
              <a:defRPr sz="1200" b="0" i="0">
                <a:latin typeface="Museo Sans 300" panose="02000000000000000000" pitchFamily="2" charset="77"/>
              </a:defRPr>
            </a:lvl4pPr>
            <a:lvl5pPr marL="1828800" indent="0">
              <a:buNone/>
              <a:defRPr sz="1200" b="0" i="0"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A22FBE48-CD74-C742-B108-4ACF49F0740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59263" y="5899150"/>
            <a:ext cx="3644900" cy="3397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2pPr>
            <a:lvl3pPr marL="91440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3pPr>
            <a:lvl4pPr marL="137160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4pPr>
            <a:lvl5pPr marL="182880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57454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. Title with image (opt 2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EB66810-E9D3-3D4E-A74C-9D1C631FF40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12192000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2" y="620713"/>
            <a:ext cx="6544881" cy="169271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6000" b="1" i="0">
                <a:solidFill>
                  <a:schemeClr val="bg1"/>
                </a:solidFill>
                <a:latin typeface="Museo Sans 7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17160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/>
              <a:t>00 Month Yea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F742D3-3CFE-B54A-B1CB-F8649CD2D4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560319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Museo Sans 700" panose="02000000000000000000" pitchFamily="2" charset="77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3553660-1946-CE48-9F01-BD9D3EBF60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900552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Author positio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0268FB1-F7BC-9A4A-8206-A806CE8945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51976" y="5733288"/>
            <a:ext cx="2689162" cy="4865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Museo Sans 700" panose="02000000000000000000" pitchFamily="2" charset="77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Sub-title / location etc. 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91E36D2A-1DDB-8F43-B3AC-35441BC18E1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0885804" y="243681"/>
            <a:ext cx="1024255" cy="754063"/>
          </a:xfrm>
          <a:prstGeom prst="rect">
            <a:avLst/>
          </a:prstGeom>
        </p:spPr>
        <p:txBody>
          <a:bodyPr/>
          <a:lstStyle/>
          <a:p>
            <a:endParaRPr lang="en-KE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8F9A6DB0-2113-024A-8738-FBA34EEAB70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599805" y="243681"/>
            <a:ext cx="2102485" cy="754063"/>
          </a:xfrm>
          <a:prstGeom prst="rect">
            <a:avLst/>
          </a:prstGeom>
        </p:spPr>
        <p:txBody>
          <a:bodyPr/>
          <a:lstStyle/>
          <a:p>
            <a:endParaRPr lang="en-KE" dirty="0"/>
          </a:p>
        </p:txBody>
      </p:sp>
    </p:spTree>
    <p:extLst>
      <p:ext uri="{BB962C8B-B14F-4D97-AF65-F5344CB8AC3E}">
        <p14:creationId xmlns:p14="http://schemas.microsoft.com/office/powerpoint/2010/main" val="341209963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7.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108B4D3-71AE-6640-800B-4B2D93D8241E}"/>
              </a:ext>
            </a:extLst>
          </p:cNvPr>
          <p:cNvSpPr/>
          <p:nvPr userDrawn="1"/>
        </p:nvSpPr>
        <p:spPr>
          <a:xfrm>
            <a:off x="0" y="1628775"/>
            <a:ext cx="12192000" cy="52292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E5980A4E-3836-DD48-9103-C580B5B3B75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sp>
        <p:nvSpPr>
          <p:cNvPr id="20" name="Subtitle 2">
            <a:extLst>
              <a:ext uri="{FF2B5EF4-FFF2-40B4-BE49-F238E27FC236}">
                <a16:creationId xmlns:a16="http://schemas.microsoft.com/office/drawing/2014/main" id="{D156BF89-0EF9-3C49-B945-67F20F69D4E0}"/>
              </a:ext>
            </a:extLst>
          </p:cNvPr>
          <p:cNvSpPr txBox="1">
            <a:spLocks/>
          </p:cNvSpPr>
          <p:nvPr userDrawn="1"/>
        </p:nvSpPr>
        <p:spPr>
          <a:xfrm>
            <a:off x="4556126" y="3670556"/>
            <a:ext cx="3541712" cy="1358379"/>
          </a:xfrm>
          <a:prstGeom prst="rect">
            <a:avLst/>
          </a:prstGeom>
        </p:spPr>
        <p:txBody>
          <a:bodyPr lIns="0" tIns="0" rIns="0" bIns="0"/>
          <a:lstStyle>
            <a:lvl1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kern="1200" baseline="0">
                <a:solidFill>
                  <a:schemeClr val="tx1"/>
                </a:solidFill>
                <a:latin typeface="Museo Sans 700" panose="02000000000000000000" pitchFamily="2" charset="77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85750" indent="-285750" algn="l" defTabSz="914400" rtl="0" eaLnBrk="1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ts val="2000"/>
              </a:lnSpc>
              <a:spcBef>
                <a:spcPts val="50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48772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02. Section header (opt 2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4" y="1628775"/>
            <a:ext cx="7353300" cy="3272410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6000" b="0" i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3529012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C69A258-29EC-8D46-B4B3-1EFF752E9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544FDD9-5D9D-514C-8BCE-403CA037D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E39D98-8291-CE46-92E5-321198F0EF8D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A8EB03B4-ABEB-B84C-80FB-82DA9A3AD4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8405" y="319201"/>
            <a:ext cx="2014644" cy="60331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80DC4C-4510-D34D-AF12-5A85CDD580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620713"/>
            <a:ext cx="5449887" cy="84296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4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2pPr>
            <a:lvl3pPr marL="9144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3pPr>
            <a:lvl4pPr marL="13716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4pPr>
            <a:lvl5pPr marL="18288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90982239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08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6574663" cy="813353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/>
              <a:t>Running Header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C69A258-29EC-8D46-B4B3-1EFF752E9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/>
              <a:t>FSD Africa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544FDD9-5D9D-514C-8BCE-403CA037D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6BD7A4F-6DFA-7E47-B241-B6F5ED6CD53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E39D98-8291-CE46-92E5-321198F0EF8D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5287710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577" b="1" i="0">
                <a:solidFill>
                  <a:srgbClr val="98C21F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5/29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1229069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A7E73915-57E7-4995-864F-998C102B8BC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5803" y="1556069"/>
            <a:ext cx="5358168" cy="4620895"/>
          </a:xfrm>
          <a:prstGeom prst="rect">
            <a:avLst/>
          </a:prstGeom>
        </p:spPr>
        <p:txBody>
          <a:bodyPr vert="horz" lIns="91440" tIns="45720" rIns="91440" bIns="45720" numCol="2" rtlCol="0">
            <a:normAutofit/>
          </a:bodyPr>
          <a:lstStyle>
            <a:lvl1pPr>
              <a:defRPr>
                <a:latin typeface="Century Gothic 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0D673133-5D9F-4CC9-9124-BC44FC1FA306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363597" y="1556068"/>
            <a:ext cx="5332411" cy="4620894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accent2"/>
                </a:solidFill>
                <a:latin typeface="Century Gothic BOLD" panose="020B0702020202020204" pitchFamily="34" charset="0"/>
              </a:defRPr>
            </a:lvl1pPr>
            <a:lvl2pPr>
              <a:defRPr>
                <a:latin typeface="Century Gothic" panose="020B0502020202020204" pitchFamily="34" charset="0"/>
              </a:defRPr>
            </a:lvl2pPr>
            <a:lvl3pPr>
              <a:defRPr>
                <a:latin typeface="Century Gothic" panose="020B0502020202020204" pitchFamily="34" charset="0"/>
              </a:defRPr>
            </a:lvl3pPr>
            <a:lvl4pPr>
              <a:defRPr>
                <a:latin typeface="Century Gothic" panose="020B0502020202020204" pitchFamily="34" charset="0"/>
              </a:defRPr>
            </a:lvl4pPr>
            <a:lvl5pPr>
              <a:defRPr>
                <a:latin typeface="Century Gothic" panose="020B0502020202020204" pitchFamily="34" charset="0"/>
              </a:defRPr>
            </a:lvl5pPr>
          </a:lstStyle>
          <a:p>
            <a:pPr lvl="0"/>
            <a:r>
              <a:rPr lang="en-US" dirty="0"/>
              <a:t>FIGURE / TABLE HEADER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A0D099B3-C566-481B-8E4C-58629C380C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804" y="980903"/>
            <a:ext cx="10515601" cy="4405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280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C1503ABD-C137-4C1D-BD75-EB45420A067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35801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1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EB42DCA6-B3F8-4F5D-A350-6880BBB809B1}" type="datetimeFigureOut">
              <a:rPr lang="en-ZA" smtClean="0"/>
              <a:pPr/>
              <a:t>2023/05/29</a:t>
            </a:fld>
            <a:endParaRPr lang="en-ZA"/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27EC1EB2-AF18-4EE4-8CBA-3CD7DD185D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3" y="6356356"/>
            <a:ext cx="4114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1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20" name="Slide Number Placeholder 5">
            <a:extLst>
              <a:ext uri="{FF2B5EF4-FFF2-40B4-BE49-F238E27FC236}">
                <a16:creationId xmlns:a16="http://schemas.microsoft.com/office/drawing/2014/main" id="{B4366556-6637-4BDA-AF40-5068CEF550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952808" y="635635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1">
                <a:solidFill>
                  <a:schemeClr val="tx1">
                    <a:tint val="75000"/>
                  </a:schemeClr>
                </a:solidFill>
                <a:latin typeface="Century Gothic" panose="020B0502020202020204" pitchFamily="34" charset="0"/>
              </a:defRPr>
            </a:lvl1pPr>
          </a:lstStyle>
          <a:p>
            <a:fld id="{C8F0D457-B8FC-413C-9D30-97ED72E92701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4362258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8.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6574663" cy="81335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1109027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C69A258-29EC-8D46-B4B3-1EFF752E9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544FDD9-5D9D-514C-8BCE-403CA037D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6BD7A4F-6DFA-7E47-B241-B6F5ED6CD5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E39D98-8291-CE46-92E5-321198F0EF8D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9E8B6E-FCC0-9C4C-9A13-898E47F78E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2292" y="1840230"/>
            <a:ext cx="4314507" cy="416052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>
              <a:lnSpc>
                <a:spcPts val="2200"/>
              </a:lnSpc>
              <a:spcBef>
                <a:spcPts val="0"/>
              </a:spcBef>
              <a:buFont typeface="System Font Regular"/>
              <a:buChar char="–"/>
              <a:defRPr sz="1800" b="0" i="0">
                <a:latin typeface="Museo Sans 500" panose="02000000000000000000" pitchFamily="2" charset="77"/>
              </a:defRPr>
            </a:lvl1pPr>
            <a:lvl2pPr marL="230400" indent="0">
              <a:lnSpc>
                <a:spcPts val="2200"/>
              </a:lnSpc>
              <a:spcBef>
                <a:spcPts val="0"/>
              </a:spcBef>
              <a:spcAft>
                <a:spcPts val="1100"/>
              </a:spcAft>
              <a:buFont typeface="System Font Regular"/>
              <a:buNone/>
              <a:defRPr sz="1800" b="0" i="0">
                <a:latin typeface="Museo Sans 100" panose="02000000000000000000" pitchFamily="2" charset="77"/>
              </a:defRPr>
            </a:lvl2pPr>
            <a:lvl3pPr marL="1143000" indent="-228600">
              <a:buFont typeface="System Font Regular"/>
              <a:buChar char="–"/>
              <a:defRPr sz="1600"/>
            </a:lvl3pPr>
            <a:lvl4pPr marL="1600200" indent="-228600">
              <a:buFont typeface="System Font Regular"/>
              <a:buChar char="–"/>
              <a:defRPr sz="1600"/>
            </a:lvl4pPr>
            <a:lvl5pPr marL="2057400" indent="-228600">
              <a:buFont typeface="System Font Regular"/>
              <a:buChar char="–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EBBFDDE-AE59-604E-A666-4B3B97B7564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7775" y="1840230"/>
            <a:ext cx="4333875" cy="416052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>
              <a:lnSpc>
                <a:spcPts val="2200"/>
              </a:lnSpc>
              <a:spcBef>
                <a:spcPts val="0"/>
              </a:spcBef>
              <a:buFont typeface="System Font Regular"/>
              <a:buChar char="–"/>
              <a:defRPr sz="1800" b="0" i="0">
                <a:latin typeface="Museo Sans 500" panose="02000000000000000000" pitchFamily="2" charset="77"/>
              </a:defRPr>
            </a:lvl1pPr>
            <a:lvl2pPr marL="230400" indent="0">
              <a:lnSpc>
                <a:spcPts val="2200"/>
              </a:lnSpc>
              <a:spcBef>
                <a:spcPts val="0"/>
              </a:spcBef>
              <a:spcAft>
                <a:spcPts val="1100"/>
              </a:spcAft>
              <a:buFont typeface="System Font Regular"/>
              <a:buNone/>
              <a:defRPr sz="1800" b="0" i="0">
                <a:latin typeface="Museo Sans 100" panose="02000000000000000000" pitchFamily="2" charset="77"/>
              </a:defRPr>
            </a:lvl2pPr>
            <a:lvl3pPr marL="1143000" indent="-228600">
              <a:buFont typeface="System Font Regular"/>
              <a:buChar char="–"/>
              <a:defRPr sz="1600"/>
            </a:lvl3pPr>
            <a:lvl4pPr marL="1600200" indent="-228600">
              <a:buFont typeface="System Font Regular"/>
              <a:buChar char="–"/>
              <a:defRPr sz="1600"/>
            </a:lvl4pPr>
            <a:lvl5pPr marL="2057400" indent="-228600">
              <a:buFont typeface="System Font Regular"/>
              <a:buChar char="–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3792873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8. Agenda (+thumbnail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6574663" cy="81335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</a:t>
            </a:r>
            <a:r>
              <a:rPr lang="en-US" dirty="0" err="1"/>
              <a:t>africa</a:t>
            </a:r>
            <a:r>
              <a:rPr lang="en-US" dirty="0"/>
              <a:t> presentation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1109027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C69A258-29EC-8D46-B4B3-1EFF752E9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544FDD9-5D9D-514C-8BCE-403CA037D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6BD7A4F-6DFA-7E47-B241-B6F5ED6CD53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E39D98-8291-CE46-92E5-321198F0EF8D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E9E8B6E-FCC0-9C4C-9A13-898E47F78E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816543" y="1840230"/>
            <a:ext cx="4314507" cy="416052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>
              <a:lnSpc>
                <a:spcPts val="2200"/>
              </a:lnSpc>
              <a:spcBef>
                <a:spcPts val="0"/>
              </a:spcBef>
              <a:buFont typeface="System Font Regular"/>
              <a:buChar char="–"/>
              <a:defRPr sz="1800" b="0" i="0">
                <a:latin typeface="Museo Sans 500" panose="02000000000000000000" pitchFamily="2" charset="77"/>
              </a:defRPr>
            </a:lvl1pPr>
            <a:lvl2pPr marL="230400" indent="0">
              <a:lnSpc>
                <a:spcPts val="2200"/>
              </a:lnSpc>
              <a:spcBef>
                <a:spcPts val="0"/>
              </a:spcBef>
              <a:spcAft>
                <a:spcPts val="1100"/>
              </a:spcAft>
              <a:buFont typeface="System Font Regular"/>
              <a:buNone/>
              <a:defRPr sz="1800" b="0" i="0">
                <a:latin typeface="Museo Sans 100" panose="02000000000000000000" pitchFamily="2" charset="77"/>
              </a:defRPr>
            </a:lvl2pPr>
            <a:lvl3pPr marL="1143000" indent="-228600">
              <a:buFont typeface="System Font Regular"/>
              <a:buChar char="–"/>
              <a:defRPr sz="1600"/>
            </a:lvl3pPr>
            <a:lvl4pPr marL="1600200" indent="-228600">
              <a:buFont typeface="System Font Regular"/>
              <a:buChar char="–"/>
              <a:defRPr sz="1600"/>
            </a:lvl4pPr>
            <a:lvl5pPr marL="2057400" indent="-228600">
              <a:buFont typeface="System Font Regular"/>
              <a:buChar char="–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3EBBFDDE-AE59-604E-A666-4B3B97B7564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312026" y="1840230"/>
            <a:ext cx="4333875" cy="416052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228600" indent="-228600">
              <a:lnSpc>
                <a:spcPts val="2200"/>
              </a:lnSpc>
              <a:spcBef>
                <a:spcPts val="0"/>
              </a:spcBef>
              <a:buFont typeface="System Font Regular"/>
              <a:buChar char="–"/>
              <a:defRPr sz="1800" b="0" i="0">
                <a:latin typeface="Museo Sans 500" panose="02000000000000000000" pitchFamily="2" charset="77"/>
              </a:defRPr>
            </a:lvl1pPr>
            <a:lvl2pPr marL="230400" indent="0">
              <a:lnSpc>
                <a:spcPts val="2200"/>
              </a:lnSpc>
              <a:spcBef>
                <a:spcPts val="0"/>
              </a:spcBef>
              <a:spcAft>
                <a:spcPts val="1100"/>
              </a:spcAft>
              <a:buFont typeface="System Font Regular"/>
              <a:buNone/>
              <a:defRPr sz="1800" b="0" i="0">
                <a:latin typeface="Museo Sans 100" panose="02000000000000000000" pitchFamily="2" charset="77"/>
              </a:defRPr>
            </a:lvl2pPr>
            <a:lvl3pPr marL="1143000" indent="-228600">
              <a:buFont typeface="System Font Regular"/>
              <a:buChar char="–"/>
              <a:defRPr sz="1600"/>
            </a:lvl3pPr>
            <a:lvl4pPr marL="1600200" indent="-228600">
              <a:buFont typeface="System Font Regular"/>
              <a:buChar char="–"/>
              <a:defRPr sz="1600"/>
            </a:lvl4pPr>
            <a:lvl5pPr marL="2057400" indent="-228600">
              <a:buFont typeface="System Font Regular"/>
              <a:buChar char="–"/>
              <a:defRPr sz="16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79B573EF-E8EE-2849-85B9-C92B57D563D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50863" y="1839913"/>
            <a:ext cx="2071687" cy="2540000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809AA8C-E64E-334C-A0A9-988EFC320A1E}"/>
              </a:ext>
            </a:extLst>
          </p:cNvPr>
          <p:cNvCxnSpPr>
            <a:cxnSpLocks/>
          </p:cNvCxnSpPr>
          <p:nvPr userDrawn="1"/>
        </p:nvCxnSpPr>
        <p:spPr>
          <a:xfrm>
            <a:off x="550863" y="4493245"/>
            <a:ext cx="2071687" cy="0"/>
          </a:xfrm>
          <a:prstGeom prst="line">
            <a:avLst/>
          </a:prstGeom>
          <a:ln w="7620">
            <a:solidFill>
              <a:schemeClr val="accent5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42ED221C-D842-8246-A354-BB7EF6D9B4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50863" y="4598988"/>
            <a:ext cx="2071687" cy="30797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1600"/>
              </a:lnSpc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lnSpc>
                <a:spcPts val="1600"/>
              </a:lnSpc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2pPr>
            <a:lvl3pPr marL="914400" indent="0">
              <a:lnSpc>
                <a:spcPts val="1600"/>
              </a:lnSpc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3pPr>
            <a:lvl4pPr marL="1371600" indent="0">
              <a:lnSpc>
                <a:spcPts val="1600"/>
              </a:lnSpc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4pPr>
            <a:lvl5pPr marL="1828800" indent="0">
              <a:lnSpc>
                <a:spcPts val="1600"/>
              </a:lnSpc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7827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9.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6574663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2" y="1847849"/>
            <a:ext cx="4325937" cy="437197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11090275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5EF1B20-3616-1441-ACB2-3FD549166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175A7B-0922-324F-99CA-5699A9EB3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57775" y="1863726"/>
            <a:ext cx="5734272" cy="1981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600"/>
              </a:lnSpc>
              <a:buNone/>
              <a:defRPr sz="22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None/>
              <a:defRPr sz="2200" b="1" i="0">
                <a:solidFill>
                  <a:schemeClr val="bg2"/>
                </a:solidFill>
                <a:latin typeface="Museo Sans 700" panose="02000000000000000000" pitchFamily="2" charset="77"/>
              </a:defRPr>
            </a:lvl2pPr>
            <a:lvl3pPr marL="914400" indent="0">
              <a:lnSpc>
                <a:spcPts val="2600"/>
              </a:lnSpc>
              <a:buFont typeface="Arial" panose="020B0604020202020204" pitchFamily="34" charset="0"/>
              <a:buNone/>
              <a:defRPr sz="2200" b="0" i="0">
                <a:solidFill>
                  <a:schemeClr val="bg2"/>
                </a:solidFill>
                <a:latin typeface="Museo Sans 300" panose="02000000000000000000" pitchFamily="2" charset="77"/>
              </a:defRPr>
            </a:lvl3pPr>
          </a:lstStyle>
          <a:p>
            <a:pPr lvl="0"/>
            <a:r>
              <a:rPr lang="en-US" dirty="0"/>
              <a:t>Edit Master text styles: Pull quote</a:t>
            </a:r>
          </a:p>
          <a:p>
            <a:pPr lvl="1"/>
            <a:r>
              <a:rPr lang="en-US" dirty="0"/>
              <a:t>Second level: Quote credit</a:t>
            </a:r>
          </a:p>
          <a:p>
            <a:pPr lvl="2"/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352750-038C-6F43-A13E-341591C96B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057774" y="4032504"/>
            <a:ext cx="4333875" cy="2187321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000"/>
              </a:lnSpc>
              <a:buNone/>
              <a:defRPr sz="1600" b="1" i="0">
                <a:latin typeface="Museo Sans 700" panose="02000000000000000000" pitchFamily="2" charset="77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/>
            </a:lvl2pPr>
            <a:lvl3pPr marL="284400" indent="-28575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4DB60A1-262C-9644-901E-9B462BC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572625" y="6003825"/>
            <a:ext cx="2068513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redit line</a:t>
            </a:r>
          </a:p>
        </p:txBody>
      </p:sp>
    </p:spTree>
    <p:extLst>
      <p:ext uri="{BB962C8B-B14F-4D97-AF65-F5344CB8AC3E}">
        <p14:creationId xmlns:p14="http://schemas.microsoft.com/office/powerpoint/2010/main" val="24588456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9. Text (+ table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6574663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4325937" cy="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5EF1B20-3616-1441-ACB2-3FD549166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175A7B-0922-324F-99CA-5699A9EB3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496" y="1863725"/>
            <a:ext cx="2071687" cy="435609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600"/>
              </a:lnSpc>
              <a:buNone/>
              <a:defRPr sz="22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None/>
              <a:defRPr sz="2200" b="1" i="0">
                <a:solidFill>
                  <a:schemeClr val="bg2"/>
                </a:solidFill>
                <a:latin typeface="Museo Sans 700" panose="02000000000000000000" pitchFamily="2" charset="77"/>
              </a:defRPr>
            </a:lvl2pPr>
            <a:lvl3pPr marL="914400" indent="0">
              <a:lnSpc>
                <a:spcPts val="2600"/>
              </a:lnSpc>
              <a:buFont typeface="Arial" panose="020B0604020202020204" pitchFamily="34" charset="0"/>
              <a:buNone/>
              <a:defRPr sz="2200" b="0" i="0">
                <a:solidFill>
                  <a:schemeClr val="bg2"/>
                </a:solidFill>
                <a:latin typeface="Museo Sans 300" panose="02000000000000000000" pitchFamily="2" charset="77"/>
              </a:defRPr>
            </a:lvl3pPr>
          </a:lstStyle>
          <a:p>
            <a:pPr lvl="0"/>
            <a:r>
              <a:rPr lang="en-US" dirty="0"/>
              <a:t>Edit Master text styles: Pull quote</a:t>
            </a:r>
          </a:p>
          <a:p>
            <a:pPr lvl="1"/>
            <a:r>
              <a:rPr lang="en-US" dirty="0"/>
              <a:t>Second level: Quote credit</a:t>
            </a:r>
          </a:p>
          <a:p>
            <a:pPr lvl="2"/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352750-038C-6F43-A13E-341591C96B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803525" y="1856232"/>
            <a:ext cx="2073275" cy="3813048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000"/>
              </a:lnSpc>
              <a:buNone/>
              <a:defRPr sz="1600" b="1" i="0">
                <a:latin typeface="Museo Sans 700" panose="02000000000000000000" pitchFamily="2" charset="77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/>
            </a:lvl2pPr>
            <a:lvl3pPr marL="284400" indent="-285750">
              <a:lnSpc>
                <a:spcPts val="2000"/>
              </a:lnSpc>
              <a:spcBef>
                <a:spcPts val="0"/>
              </a:spcBef>
              <a:buFont typeface="System Font Regular"/>
              <a:buChar char="–"/>
              <a:defRPr sz="16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4DB60A1-262C-9644-901E-9B462BC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5057774" y="6003825"/>
            <a:ext cx="4333876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redit line</a:t>
            </a:r>
          </a:p>
        </p:txBody>
      </p:sp>
      <p:sp>
        <p:nvSpPr>
          <p:cNvPr id="4" name="Table Placeholder 3">
            <a:extLst>
              <a:ext uri="{FF2B5EF4-FFF2-40B4-BE49-F238E27FC236}">
                <a16:creationId xmlns:a16="http://schemas.microsoft.com/office/drawing/2014/main" id="{196F55C0-F687-544D-830F-49F78825FE70}"/>
              </a:ext>
            </a:extLst>
          </p:cNvPr>
          <p:cNvSpPr>
            <a:spLocks noGrp="1"/>
          </p:cNvSpPr>
          <p:nvPr>
            <p:ph type="tbl" sz="quarter" idx="18"/>
          </p:nvPr>
        </p:nvSpPr>
        <p:spPr>
          <a:xfrm>
            <a:off x="5057775" y="1628775"/>
            <a:ext cx="6583363" cy="38481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/>
          <a:lstStyle>
            <a:lvl1pPr marL="0" indent="0">
              <a:buNone/>
              <a:defRPr sz="18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4346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. 3 box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8266938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EF1B20-3616-1441-ACB2-3FD549166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175A7B-0922-324F-99CA-5699A9EB3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1496" y="1873021"/>
            <a:ext cx="2627792" cy="435609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600"/>
              </a:lnSpc>
              <a:buNone/>
              <a:defRPr sz="22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None/>
              <a:defRPr sz="2200" b="1" i="0">
                <a:solidFill>
                  <a:schemeClr val="bg2"/>
                </a:solidFill>
                <a:latin typeface="Museo Sans 700" panose="02000000000000000000" pitchFamily="2" charset="77"/>
              </a:defRPr>
            </a:lvl2pPr>
            <a:lvl3pPr marL="914400" indent="0">
              <a:lnSpc>
                <a:spcPts val="2600"/>
              </a:lnSpc>
              <a:buFont typeface="Arial" panose="020B0604020202020204" pitchFamily="34" charset="0"/>
              <a:buNone/>
              <a:defRPr sz="2200" b="0" i="0">
                <a:solidFill>
                  <a:schemeClr val="bg2"/>
                </a:solidFill>
                <a:latin typeface="Museo Sans 300" panose="02000000000000000000" pitchFamily="2" charset="77"/>
              </a:defRPr>
            </a:lvl3pPr>
          </a:lstStyle>
          <a:p>
            <a:pPr lvl="0"/>
            <a:r>
              <a:rPr lang="en-US" dirty="0"/>
              <a:t>Edit Master text styles: Pull quote</a:t>
            </a:r>
          </a:p>
          <a:p>
            <a:pPr lvl="1"/>
            <a:r>
              <a:rPr lang="en-US" dirty="0"/>
              <a:t>Second level: Quote credit</a:t>
            </a:r>
          </a:p>
          <a:p>
            <a:pPr lvl="2"/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352750-038C-6F43-A13E-341591C96B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70263" y="1645192"/>
            <a:ext cx="2636837" cy="3813048"/>
          </a:xfrm>
          <a:prstGeom prst="rect">
            <a:avLst/>
          </a:prstGeom>
          <a:ln w="19050">
            <a:solidFill>
              <a:schemeClr val="bg2"/>
            </a:solidFill>
          </a:ln>
        </p:spPr>
        <p:txBody>
          <a:bodyPr lIns="108000" tIns="648000" rIns="108000" bIns="108000"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="1" i="0">
                <a:latin typeface="Museo Sans 700" panose="02000000000000000000" pitchFamily="2" charset="77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/>
            </a:lvl2pPr>
            <a:lvl3pPr marL="284400" indent="-285750">
              <a:lnSpc>
                <a:spcPts val="2000"/>
              </a:lnSpc>
              <a:spcBef>
                <a:spcPts val="0"/>
              </a:spcBef>
              <a:buFont typeface="System Font Regular"/>
              <a:buChar char="–"/>
              <a:defRPr sz="16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72A9E0D-42C5-0541-8249-6E119765766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84900" y="1639792"/>
            <a:ext cx="2638425" cy="3812400"/>
          </a:xfrm>
          <a:prstGeom prst="rect">
            <a:avLst/>
          </a:prstGeom>
          <a:ln w="19050">
            <a:solidFill>
              <a:schemeClr val="bg2"/>
            </a:solidFill>
          </a:ln>
        </p:spPr>
        <p:txBody>
          <a:bodyPr lIns="108000" tIns="648000" rIns="108000" bIns="108000"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="1" i="0">
                <a:latin typeface="Museo Sans 700" panose="02000000000000000000" pitchFamily="2" charset="77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latin typeface="Museo Sans 300" panose="02000000000000000000" pitchFamily="2" charset="77"/>
              </a:defRPr>
            </a:lvl2pPr>
            <a:lvl3pPr marL="284400" indent="-285750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defRPr sz="1600" b="0" i="0">
                <a:latin typeface="Museo Sans 300" panose="02000000000000000000" pitchFamily="2" charset="77"/>
              </a:defRPr>
            </a:lvl3pPr>
            <a:lvl4pPr marL="1371600" indent="0">
              <a:buNone/>
              <a:defRPr sz="1600" b="0" i="0">
                <a:latin typeface="Museo Sans 300" panose="02000000000000000000" pitchFamily="2" charset="77"/>
              </a:defRPr>
            </a:lvl4pPr>
            <a:lvl5pPr marL="1828800" indent="0">
              <a:buNone/>
              <a:defRPr sz="1600" b="0" i="0"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E618D090-3E98-884B-B4F2-F989C61F512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300" y="1629064"/>
            <a:ext cx="2636838" cy="3833812"/>
          </a:xfrm>
          <a:prstGeom prst="rect">
            <a:avLst/>
          </a:prstGeom>
          <a:ln w="19050">
            <a:solidFill>
              <a:schemeClr val="bg2"/>
            </a:solidFill>
          </a:ln>
        </p:spPr>
        <p:txBody>
          <a:bodyPr lIns="108000" tIns="648000" rIns="108000" bIns="108000"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="1" i="0">
                <a:latin typeface="Museo Sans 700" panose="02000000000000000000" pitchFamily="2" charset="77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latin typeface="Museo Sans 300" panose="02000000000000000000" pitchFamily="2" charset="77"/>
              </a:defRPr>
            </a:lvl2pPr>
            <a:lvl3pPr marL="284400" indent="-285750">
              <a:lnSpc>
                <a:spcPts val="2000"/>
              </a:lnSpc>
              <a:spcBef>
                <a:spcPts val="0"/>
              </a:spcBef>
              <a:buFont typeface="System Font Regular"/>
              <a:buChar char="–"/>
              <a:defRPr sz="1600" b="0" i="0">
                <a:latin typeface="Museo Sans 300" panose="02000000000000000000" pitchFamily="2" charset="77"/>
              </a:defRPr>
            </a:lvl3pPr>
            <a:lvl4pPr marL="1371600" indent="0">
              <a:lnSpc>
                <a:spcPts val="2000"/>
              </a:lnSpc>
              <a:buNone/>
              <a:defRPr sz="1600" b="0" i="0">
                <a:latin typeface="Museo Sans 300" panose="02000000000000000000" pitchFamily="2" charset="77"/>
              </a:defRPr>
            </a:lvl4pPr>
            <a:lvl5pPr marL="1828800" indent="0">
              <a:lnSpc>
                <a:spcPts val="2000"/>
              </a:lnSpc>
              <a:buNone/>
              <a:defRPr sz="1600" b="0" i="0"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82FACED5-7338-F94E-BEE2-A1420125BC8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275892" y="1155075"/>
            <a:ext cx="947399" cy="94739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33" name="Picture Placeholder 30">
            <a:extLst>
              <a:ext uri="{FF2B5EF4-FFF2-40B4-BE49-F238E27FC236}">
                <a16:creationId xmlns:a16="http://schemas.microsoft.com/office/drawing/2014/main" id="{EE44299C-1953-5A4F-8831-FCC09A9D40E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456040" y="1155075"/>
            <a:ext cx="947399" cy="94739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34" name="Picture Placeholder 30">
            <a:extLst>
              <a:ext uri="{FF2B5EF4-FFF2-40B4-BE49-F238E27FC236}">
                <a16:creationId xmlns:a16="http://schemas.microsoft.com/office/drawing/2014/main" id="{D0670678-63B0-8B45-9ED6-ED3D265C8E5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47728" y="1155075"/>
            <a:ext cx="947399" cy="947399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 dirty="0"/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3430E777-1627-744F-8598-A741A74F32FD}"/>
              </a:ext>
            </a:extLst>
          </p:cNvPr>
          <p:cNvCxnSpPr/>
          <p:nvPr userDrawn="1"/>
        </p:nvCxnSpPr>
        <p:spPr>
          <a:xfrm>
            <a:off x="550863" y="1628775"/>
            <a:ext cx="2638425" cy="0"/>
          </a:xfrm>
          <a:prstGeom prst="line">
            <a:avLst/>
          </a:prstGeom>
          <a:ln w="381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45771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1. Title (no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63040" y="1628775"/>
            <a:ext cx="5441123" cy="327241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7000" b="1" i="0">
                <a:solidFill>
                  <a:schemeClr val="bg2"/>
                </a:solidFill>
                <a:latin typeface="Museo Sans 7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17160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tx2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/>
              <a:t>2020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2AE9D7C-5045-3843-A746-5A3693B6A43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8168" y="351631"/>
            <a:ext cx="3505150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tx2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A8EB03B4-ABEB-B84C-80FB-82DA9A3AD4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5652" y="331985"/>
            <a:ext cx="2140774" cy="641088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F742D3-3CFE-B54A-B1CB-F8649CD2D4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459038" y="5669279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i="0">
                <a:solidFill>
                  <a:schemeClr val="tx2"/>
                </a:solidFill>
                <a:latin typeface="Museo Sans 700" panose="02000000000000000000" pitchFamily="2" charset="77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Author nam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3553660-1946-CE48-9F01-BD9D3EBF60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59038" y="6009512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tx2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 dirty="0"/>
              <a:t>Author positio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EB66810-E9D3-3D4E-A74C-9D1C631FF40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550863" y="1628775"/>
            <a:ext cx="1716087" cy="17160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Icon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596580E6-FFAB-0940-842A-B1C23C9AED41}"/>
              </a:ext>
            </a:extLst>
          </p:cNvPr>
          <p:cNvCxnSpPr/>
          <p:nvPr userDrawn="1"/>
        </p:nvCxnSpPr>
        <p:spPr>
          <a:xfrm>
            <a:off x="550863" y="620713"/>
            <a:ext cx="73533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E5BC7502-A8C5-E44A-8F88-A97C88D44FE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85237" y="224364"/>
            <a:ext cx="835439" cy="8841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29415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. Multipl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4CB0C56-D4E5-054E-B339-BBD3E7A23865}"/>
              </a:ext>
            </a:extLst>
          </p:cNvPr>
          <p:cNvSpPr/>
          <p:nvPr userDrawn="1"/>
        </p:nvSpPr>
        <p:spPr>
          <a:xfrm>
            <a:off x="0" y="1628775"/>
            <a:ext cx="12192000" cy="52292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175A7B-0922-324F-99CA-5699A9EB3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006996" y="1819276"/>
            <a:ext cx="2627792" cy="435609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600"/>
              </a:lnSpc>
              <a:buNone/>
              <a:defRPr sz="22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None/>
              <a:defRPr sz="2200" b="1" i="0">
                <a:solidFill>
                  <a:schemeClr val="bg2"/>
                </a:solidFill>
                <a:latin typeface="Museo Sans 700" panose="02000000000000000000" pitchFamily="2" charset="77"/>
              </a:defRPr>
            </a:lvl2pPr>
            <a:lvl3pPr marL="914400" indent="0">
              <a:lnSpc>
                <a:spcPts val="2600"/>
              </a:lnSpc>
              <a:buFont typeface="Arial" panose="020B0604020202020204" pitchFamily="34" charset="0"/>
              <a:buNone/>
              <a:defRPr sz="2200" b="0" i="0">
                <a:solidFill>
                  <a:schemeClr val="bg2"/>
                </a:solidFill>
                <a:latin typeface="Museo Sans 300" panose="02000000000000000000" pitchFamily="2" charset="77"/>
              </a:defRPr>
            </a:lvl3pPr>
          </a:lstStyle>
          <a:p>
            <a:pPr lvl="0"/>
            <a:r>
              <a:rPr lang="en-US" dirty="0"/>
              <a:t>Edit Master text styles: Pull quote</a:t>
            </a:r>
          </a:p>
          <a:p>
            <a:pPr lvl="1"/>
            <a:r>
              <a:rPr lang="en-US" dirty="0"/>
              <a:t>Second level: Quote credit</a:t>
            </a:r>
          </a:p>
          <a:p>
            <a:pPr lvl="2"/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26D2BE6-D9FA-6E47-A418-0DB6FBE5144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1818712"/>
            <a:ext cx="2638425" cy="360000"/>
          </a:xfrm>
          <a:prstGeom prst="rect">
            <a:avLst/>
          </a:prstGeom>
          <a:solidFill>
            <a:schemeClr val="bg1"/>
          </a:solidFill>
        </p:spPr>
        <p:txBody>
          <a:bodyPr rIns="90000">
            <a:normAutofit/>
          </a:bodyPr>
          <a:lstStyle>
            <a:lvl1pPr marL="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1pPr>
            <a:lvl2pPr marL="4572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2pPr>
            <a:lvl3pPr marL="9144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3pPr>
            <a:lvl4pPr marL="13716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4pPr>
            <a:lvl5pPr marL="18288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EF094584-06EB-754B-BBDA-4C92468FD4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70263" y="1818712"/>
            <a:ext cx="2636837" cy="360000"/>
          </a:xfrm>
          <a:prstGeom prst="rect">
            <a:avLst/>
          </a:prstGeom>
          <a:solidFill>
            <a:schemeClr val="bg1"/>
          </a:solidFill>
        </p:spPr>
        <p:txBody>
          <a:bodyPr rIns="90000">
            <a:normAutofit/>
          </a:bodyPr>
          <a:lstStyle>
            <a:lvl1pPr marL="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1pPr>
            <a:lvl2pPr marL="4572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2pPr>
            <a:lvl3pPr marL="9144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3pPr>
            <a:lvl4pPr marL="13716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4pPr>
            <a:lvl5pPr marL="18288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3B4DDFFA-4BC3-5441-BF09-268143E605D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84900" y="1818712"/>
            <a:ext cx="2638425" cy="360000"/>
          </a:xfrm>
          <a:prstGeom prst="rect">
            <a:avLst/>
          </a:prstGeom>
          <a:solidFill>
            <a:schemeClr val="bg1"/>
          </a:solidFill>
        </p:spPr>
        <p:txBody>
          <a:bodyPr rIns="90000">
            <a:normAutofit/>
          </a:bodyPr>
          <a:lstStyle>
            <a:lvl1pPr marL="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1pPr>
            <a:lvl2pPr marL="4572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2pPr>
            <a:lvl3pPr marL="9144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3pPr>
            <a:lvl4pPr marL="13716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4pPr>
            <a:lvl5pPr marL="18288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AC562EAD-2AE0-1A47-8268-D4E657EAE8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50863" y="3997363"/>
            <a:ext cx="2638425" cy="360000"/>
          </a:xfrm>
          <a:prstGeom prst="rect">
            <a:avLst/>
          </a:prstGeom>
          <a:solidFill>
            <a:schemeClr val="bg1"/>
          </a:solidFill>
        </p:spPr>
        <p:txBody>
          <a:bodyPr rIns="90000">
            <a:normAutofit/>
          </a:bodyPr>
          <a:lstStyle>
            <a:lvl1pPr marL="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1pPr>
            <a:lvl2pPr marL="4572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2pPr>
            <a:lvl3pPr marL="9144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3pPr>
            <a:lvl4pPr marL="13716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4pPr>
            <a:lvl5pPr marL="18288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ED59CD41-A708-264B-857D-5C4EEADBED0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370263" y="3997363"/>
            <a:ext cx="2636837" cy="360000"/>
          </a:xfrm>
          <a:prstGeom prst="rect">
            <a:avLst/>
          </a:prstGeom>
          <a:solidFill>
            <a:schemeClr val="bg1"/>
          </a:solidFill>
        </p:spPr>
        <p:txBody>
          <a:bodyPr rIns="90000">
            <a:normAutofit/>
          </a:bodyPr>
          <a:lstStyle>
            <a:lvl1pPr marL="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1pPr>
            <a:lvl2pPr marL="4572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2pPr>
            <a:lvl3pPr marL="9144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3pPr>
            <a:lvl4pPr marL="13716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4pPr>
            <a:lvl5pPr marL="18288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14634A72-F09B-0B40-B08B-4FAA793A7EC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84900" y="3997363"/>
            <a:ext cx="2638425" cy="360000"/>
          </a:xfrm>
          <a:prstGeom prst="rect">
            <a:avLst/>
          </a:prstGeom>
          <a:solidFill>
            <a:schemeClr val="bg1"/>
          </a:solidFill>
        </p:spPr>
        <p:txBody>
          <a:bodyPr rIns="90000">
            <a:normAutofit/>
          </a:bodyPr>
          <a:lstStyle>
            <a:lvl1pPr marL="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1pPr>
            <a:lvl2pPr marL="4572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2pPr>
            <a:lvl3pPr marL="9144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3pPr>
            <a:lvl4pPr marL="13716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4pPr>
            <a:lvl5pPr marL="1828800" indent="0">
              <a:lnSpc>
                <a:spcPts val="1800"/>
              </a:lnSpc>
              <a:buNone/>
              <a:defRPr sz="1400" b="1" i="0">
                <a:latin typeface="Museo Sans 7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DC50747C-CE6C-1E4C-A019-080CF255DB6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50863" y="2182147"/>
            <a:ext cx="2638425" cy="1620000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lnSpc>
                <a:spcPts val="1800"/>
              </a:lnSpc>
              <a:spcBef>
                <a:spcPts val="0"/>
              </a:spcBef>
              <a:spcAft>
                <a:spcPts val="1000"/>
              </a:spcAft>
              <a:buNone/>
              <a:defRPr sz="1400" b="0" i="0">
                <a:latin typeface="Museo Sans 300" panose="02000000000000000000" pitchFamily="2" charset="77"/>
              </a:defRPr>
            </a:lvl1pPr>
            <a:lvl2pPr marL="284400" indent="-2857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defRPr sz="1400" b="0" i="0">
                <a:latin typeface="Museo Sans 300" panose="02000000000000000000" pitchFamily="2" charset="77"/>
              </a:defRPr>
            </a:lvl2pPr>
            <a:lvl3pPr marL="9144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3pPr>
            <a:lvl4pPr marL="13716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4pPr>
            <a:lvl5pPr marL="18288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CA33AB2E-B548-2348-95F2-961652ECC79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370263" y="2182147"/>
            <a:ext cx="2636837" cy="1620000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latin typeface="Museo Sans 300" panose="02000000000000000000" pitchFamily="2" charset="77"/>
              </a:defRPr>
            </a:lvl1pPr>
            <a:lvl2pPr marL="284400" indent="-2857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defRPr sz="1400" b="0" i="0">
                <a:latin typeface="Museo Sans 300" panose="02000000000000000000" pitchFamily="2" charset="77"/>
              </a:defRPr>
            </a:lvl2pPr>
            <a:lvl3pPr marL="9144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3pPr>
            <a:lvl4pPr marL="13716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4pPr>
            <a:lvl5pPr marL="18288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017C9910-49BD-1E4E-88B6-8863FA6E396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184900" y="2182147"/>
            <a:ext cx="2638425" cy="1620000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latin typeface="Museo Sans 300" panose="02000000000000000000" pitchFamily="2" charset="77"/>
              </a:defRPr>
            </a:lvl1pPr>
            <a:lvl2pPr marL="284400" indent="-2857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defRPr sz="1400" b="0" i="0">
                <a:latin typeface="Museo Sans 300" panose="02000000000000000000" pitchFamily="2" charset="77"/>
              </a:defRPr>
            </a:lvl2pPr>
            <a:lvl3pPr marL="9144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3pPr>
            <a:lvl4pPr marL="13716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4pPr>
            <a:lvl5pPr marL="18288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AEFFFF03-868F-924E-85D0-BA6CC927A3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50863" y="4361541"/>
            <a:ext cx="2638425" cy="1620000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latin typeface="Museo Sans 300" panose="02000000000000000000" pitchFamily="2" charset="77"/>
              </a:defRPr>
            </a:lvl1pPr>
            <a:lvl2pPr marL="284400" indent="-2857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defRPr sz="1400" b="0" i="0">
                <a:latin typeface="Museo Sans 300" panose="02000000000000000000" pitchFamily="2" charset="77"/>
              </a:defRPr>
            </a:lvl2pPr>
            <a:lvl3pPr marL="9144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3pPr>
            <a:lvl4pPr marL="13716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4pPr>
            <a:lvl5pPr marL="18288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E34CD5AF-61CE-E24F-9F2E-72F7DF4B75C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370263" y="4361541"/>
            <a:ext cx="2636837" cy="1620000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latin typeface="Museo Sans 300" panose="02000000000000000000" pitchFamily="2" charset="77"/>
              </a:defRPr>
            </a:lvl1pPr>
            <a:lvl2pPr marL="284400" indent="-2857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defRPr sz="1400" b="0" i="0">
                <a:latin typeface="Museo Sans 300" panose="02000000000000000000" pitchFamily="2" charset="77"/>
              </a:defRPr>
            </a:lvl2pPr>
            <a:lvl3pPr marL="9144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3pPr>
            <a:lvl4pPr marL="13716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4pPr>
            <a:lvl5pPr marL="18288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53" name="Text Placeholder 52">
            <a:extLst>
              <a:ext uri="{FF2B5EF4-FFF2-40B4-BE49-F238E27FC236}">
                <a16:creationId xmlns:a16="http://schemas.microsoft.com/office/drawing/2014/main" id="{D598B10B-9CA7-9744-8CF9-52ED0601951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4900" y="4361541"/>
            <a:ext cx="2638425" cy="1620000"/>
          </a:xfrm>
          <a:prstGeom prst="rect">
            <a:avLst/>
          </a:prstGeom>
          <a:solidFill>
            <a:schemeClr val="bg1"/>
          </a:solidFill>
        </p:spPr>
        <p:txBody>
          <a:bodyPr>
            <a:normAutofit/>
          </a:bodyPr>
          <a:lstStyle>
            <a:lvl1pPr marL="0" indent="0">
              <a:lnSpc>
                <a:spcPts val="1800"/>
              </a:lnSpc>
              <a:spcAft>
                <a:spcPts val="1000"/>
              </a:spcAft>
              <a:buNone/>
              <a:defRPr sz="1400" b="0" i="0">
                <a:latin typeface="Museo Sans 300" panose="02000000000000000000" pitchFamily="2" charset="77"/>
              </a:defRPr>
            </a:lvl1pPr>
            <a:lvl2pPr marL="284400" indent="-285750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Char char="–"/>
              <a:defRPr sz="1400" b="0" i="0">
                <a:latin typeface="Museo Sans 300" panose="02000000000000000000" pitchFamily="2" charset="77"/>
              </a:defRPr>
            </a:lvl2pPr>
            <a:lvl3pPr marL="9144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3pPr>
            <a:lvl4pPr marL="13716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4pPr>
            <a:lvl5pPr marL="1828800" indent="0">
              <a:lnSpc>
                <a:spcPts val="1800"/>
              </a:lnSpc>
              <a:buNone/>
              <a:defRPr sz="1400" b="0" i="0"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8266938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EF1B20-3616-1441-ACB2-3FD549166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6818BFE7-656C-4445-85E9-ABD005764B7F}"/>
              </a:ext>
            </a:extLst>
          </p:cNvPr>
          <p:cNvCxnSpPr/>
          <p:nvPr userDrawn="1"/>
        </p:nvCxnSpPr>
        <p:spPr>
          <a:xfrm>
            <a:off x="550863" y="4365104"/>
            <a:ext cx="2638425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CB66461F-3CF1-B741-90B8-D2CFB283FC7A}"/>
              </a:ext>
            </a:extLst>
          </p:cNvPr>
          <p:cNvCxnSpPr/>
          <p:nvPr userDrawn="1"/>
        </p:nvCxnSpPr>
        <p:spPr>
          <a:xfrm>
            <a:off x="3370263" y="4365104"/>
            <a:ext cx="2638425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B5837807-8F44-B249-A797-A4BAF2D741EF}"/>
              </a:ext>
            </a:extLst>
          </p:cNvPr>
          <p:cNvCxnSpPr/>
          <p:nvPr userDrawn="1"/>
        </p:nvCxnSpPr>
        <p:spPr>
          <a:xfrm>
            <a:off x="6184900" y="4365104"/>
            <a:ext cx="2638425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id="{DBE23E1B-A754-114B-ACB6-8C2707F34A68}"/>
              </a:ext>
            </a:extLst>
          </p:cNvPr>
          <p:cNvCxnSpPr/>
          <p:nvPr userDrawn="1"/>
        </p:nvCxnSpPr>
        <p:spPr>
          <a:xfrm>
            <a:off x="550863" y="2190636"/>
            <a:ext cx="2638425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04FCB261-23C9-F148-A8BF-456653CAF92E}"/>
              </a:ext>
            </a:extLst>
          </p:cNvPr>
          <p:cNvCxnSpPr/>
          <p:nvPr userDrawn="1"/>
        </p:nvCxnSpPr>
        <p:spPr>
          <a:xfrm>
            <a:off x="3370263" y="2190636"/>
            <a:ext cx="2638425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DB7F8B9F-D63D-DA4F-9A2B-75C6F994E319}"/>
              </a:ext>
            </a:extLst>
          </p:cNvPr>
          <p:cNvCxnSpPr/>
          <p:nvPr userDrawn="1"/>
        </p:nvCxnSpPr>
        <p:spPr>
          <a:xfrm>
            <a:off x="6184900" y="2190636"/>
            <a:ext cx="2638425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312676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7C1F76-C0C6-40C5-B009-315DAC357A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15399D3-CBA0-48A0-8A45-1B60A43C62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AD16F11-616D-415C-9C22-B887E039A8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9EF1E-220C-4089-8AD8-BF709A86468C}" type="datetimeFigureOut">
              <a:rPr lang="en-AU" smtClean="0"/>
              <a:t>29/05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DCA04C-DA0C-4255-931B-49EDBBE3F1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AEAEC6-284A-483C-B1BF-A6EBD784F6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C75F8-FD8A-441B-B31C-F376C0FEAB8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5510924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D9D775-7AC6-47C9-9572-7CACAAC63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55BA14-106E-4CC7-B0D2-97903F7FC6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5B6703-1214-4CCF-9AD4-7B23C3BDA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9EF1E-220C-4089-8AD8-BF709A86468C}" type="datetimeFigureOut">
              <a:rPr lang="en-AU" smtClean="0"/>
              <a:t>29/05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0ADC7E-05E4-4792-8B5B-7C856B61F1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526A11-9726-4F79-948E-14A84470F5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C75F8-FD8A-441B-B31C-F376C0FEAB8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17270756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70C3C7-0E8B-42CE-9826-4934EDCCF9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0764DA-D685-4718-A892-DBEB8827E2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7B2F24-02EB-4663-BFAC-CAF0BE653D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9EF1E-220C-4089-8AD8-BF709A86468C}" type="datetimeFigureOut">
              <a:rPr lang="en-AU" smtClean="0"/>
              <a:t>29/05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7F03B3-1182-4964-9A15-E730780332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2C1EF-6EDA-4C58-B7FB-8B249243E5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C75F8-FD8A-441B-B31C-F376C0FEAB8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55306610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75C486-4C4E-4C69-89DD-AEBAB30E15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F788D64-17EE-4048-83D6-A01ACEAF3D7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81946B1-1BFF-43F3-A765-9D44E909CFE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31A9560-6007-4D40-9D59-48D9446B95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9EF1E-220C-4089-8AD8-BF709A86468C}" type="datetimeFigureOut">
              <a:rPr lang="en-AU" smtClean="0"/>
              <a:t>29/05/2023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306A3C6-9D6F-414A-9741-DC0C93F05C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D9575CC-3CAC-481C-9813-C9E3B24D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C75F8-FD8A-441B-B31C-F376C0FEAB8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313950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F1F4D9-4045-4816-B12B-CDFCC375D5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B96941-864A-4994-AF78-A6C30C6EBA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3C5B5A5-A771-41F9-A25B-995B30236CF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48C6093-E820-473E-B219-A55BB3EE60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BAB30E5-3589-4AF3-973A-1D9114ABEB8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9602035-1B87-4409-BFC0-914091D67E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9EF1E-220C-4089-8AD8-BF709A86468C}" type="datetimeFigureOut">
              <a:rPr lang="en-AU" smtClean="0"/>
              <a:t>29/05/2023</a:t>
            </a:fld>
            <a:endParaRPr lang="en-A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403CDF7-924C-4F60-9D90-76773228F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9F07711-68DD-490F-B4F8-D67E298A5F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C75F8-FD8A-441B-B31C-F376C0FEAB8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41043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5B00A4-2780-458B-B46A-B0B497EB55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F29AD6-8EEE-4B77-A89C-A964F1E8BB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9EF1E-220C-4089-8AD8-BF709A86468C}" type="datetimeFigureOut">
              <a:rPr lang="en-AU" smtClean="0"/>
              <a:t>29/05/2023</a:t>
            </a:fld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5D20525-68D8-4644-B32D-596942BF41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183C049-AF3F-4B72-9228-B7B638B7D7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C75F8-FD8A-441B-B31C-F376C0FEAB8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98882791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E0F92BD-32DF-41B6-8078-A01C5EDBCBD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9EF1E-220C-4089-8AD8-BF709A86468C}" type="datetimeFigureOut">
              <a:rPr lang="en-AU" smtClean="0"/>
              <a:t>29/05/2023</a:t>
            </a:fld>
            <a:endParaRPr lang="en-A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1C114F-6869-49A2-A005-DBCAB5D03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D705904-9923-4AA6-8C80-27209AFAD8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C75F8-FD8A-441B-B31C-F376C0FEAB8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96521751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D47255-25F6-409C-9FA9-AEEF81866B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60E467-7512-4658-930C-B1EF10E82C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920281-3F79-4919-818B-214CD1BBAB2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B7FFF84-56B6-4ED8-98E9-B01305CAE9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9EF1E-220C-4089-8AD8-BF709A86468C}" type="datetimeFigureOut">
              <a:rPr lang="en-AU" smtClean="0"/>
              <a:t>29/05/2023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306DB2-620E-4F3E-9E6D-1EBACC7CC5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C9C0B51-B1C2-4BE4-AB3A-0834BBBE2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C75F8-FD8A-441B-B31C-F376C0FEAB8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82160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0F65FD-8F53-4B17-9867-1C9DCA79A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D4BE94-6CE0-4E1B-BA8E-73CEC8D8F44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A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26723-37E3-464A-9838-D376C7C5622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CA710E3-80F7-4D16-A59E-B7303478EC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9EF1E-220C-4089-8AD8-BF709A86468C}" type="datetimeFigureOut">
              <a:rPr lang="en-AU" smtClean="0"/>
              <a:t>29/05/2023</a:t>
            </a:fld>
            <a:endParaRPr lang="en-A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7DCE5F9-71FF-48F2-9530-2526F4BC05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D403565-D7C8-4AA7-895E-699F6E7E85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C75F8-FD8A-441B-B31C-F376C0FEAB8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71399714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2. Section header (opt 1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4" y="1628775"/>
            <a:ext cx="7353300" cy="327241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6000" b="0" i="0">
                <a:solidFill>
                  <a:schemeClr val="tx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3529012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C69A258-29EC-8D46-B4B3-1EFF752E9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544FDD9-5D9D-514C-8BCE-403CA037D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E39D98-8291-CE46-92E5-321198F0EF8D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80DC4C-4510-D34D-AF12-5A85CDD580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620713"/>
            <a:ext cx="5449887" cy="8429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2pPr>
            <a:lvl3pPr marL="9144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3pPr>
            <a:lvl4pPr marL="13716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4pPr>
            <a:lvl5pPr marL="18288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9E8913C-924F-F34D-A11D-536B64A9CE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15652" y="331984"/>
            <a:ext cx="2814872" cy="8429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75859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B9B4F2-FFBB-4399-81A3-08A83FB537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CA0A37-B949-41B9-91C9-F6160904E0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B24500-43FA-4FB7-8C6C-9CDAF7C941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9EF1E-220C-4089-8AD8-BF709A86468C}" type="datetimeFigureOut">
              <a:rPr lang="en-AU" smtClean="0"/>
              <a:t>29/05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4AB883-361F-4E56-84C0-9025D5B95A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CD760C4-D2DF-40DD-BE69-6163528506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C75F8-FD8A-441B-B31C-F376C0FEAB8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9305834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54897C9-9AFC-4445-968D-0D15491EB57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1279E94-C229-4D47-A4C0-D470B2815F6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F3BBEF9-1ACD-48FC-AF44-F33579E2B2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39EF1E-220C-4089-8AD8-BF709A86468C}" type="datetimeFigureOut">
              <a:rPr lang="en-AU" smtClean="0"/>
              <a:t>29/05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9D97E23-5C74-4FDA-ADDC-87C6D8CCA8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1F19D6-C2B5-44FC-8BF8-69DE0D592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8C75F8-FD8A-441B-B31C-F376C0FEAB8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3715877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01. Title with image (opt 2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EB66810-E9D3-3D4E-A74C-9D1C631FF40C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1"/>
            <a:ext cx="12192000" cy="6857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Ic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2" y="620713"/>
            <a:ext cx="6544881" cy="1692719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6000" b="1" i="0">
                <a:solidFill>
                  <a:schemeClr val="bg1"/>
                </a:solidFill>
                <a:latin typeface="Museo Sans 700" panose="02000000000000000000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17160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/>
              <a:t>00 Month Yea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F742D3-3CFE-B54A-B1CB-F8649CD2D4A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560319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Museo Sans 700" panose="02000000000000000000" pitchFamily="2" charset="77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/>
              <a:t>Author nam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3553660-1946-CE48-9F01-BD9D3EBF60D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0863" y="2900552"/>
            <a:ext cx="5321046" cy="28346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/>
              <a:t>Author position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0268FB1-F7BC-9A4A-8206-A806CE8945E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51976" y="5733288"/>
            <a:ext cx="2689162" cy="48653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 b="1" i="0">
                <a:solidFill>
                  <a:schemeClr val="bg1"/>
                </a:solidFill>
                <a:latin typeface="Museo Sans 700" panose="02000000000000000000" pitchFamily="2" charset="77"/>
              </a:defRPr>
            </a:lvl1pPr>
            <a:lvl2pPr marL="457200" indent="0">
              <a:buNone/>
              <a:defRPr sz="2000"/>
            </a:lvl2pPr>
          </a:lstStyle>
          <a:p>
            <a:pPr lvl="0"/>
            <a:r>
              <a:rPr lang="en-US"/>
              <a:t>Sub-title / location etc. 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C0DDBB6-3F5C-8C49-9C43-A1663AEFE7E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38701" y="390089"/>
            <a:ext cx="1615563" cy="4838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7478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2. Section header (opt 2) 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0864" y="1628775"/>
            <a:ext cx="7353300" cy="327241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6000" b="0" i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3529012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, presentation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3C69A258-29EC-8D46-B4B3-1EFF752E94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544FDD9-5D9D-514C-8BCE-403CA037DF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AE39D98-8291-CE46-92E5-321198F0EF8D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A8EB03B4-ABEB-B84C-80FB-82DA9A3AD4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58552" y="331986"/>
            <a:ext cx="2515370" cy="753266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C80DC4C-4510-D34D-AF12-5A85CDD580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0863" y="620713"/>
            <a:ext cx="5449887" cy="8429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2pPr>
            <a:lvl3pPr marL="9144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3pPr>
            <a:lvl4pPr marL="13716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4pPr>
            <a:lvl5pPr marL="1828800" indent="0">
              <a:buNone/>
              <a:defRPr sz="2400" b="0" i="0">
                <a:solidFill>
                  <a:schemeClr val="tx2"/>
                </a:solidFill>
                <a:latin typeface="Museo Sans 300" panose="02000000000000000000" pitchFamily="2" charset="77"/>
              </a:defRPr>
            </a:lvl5pPr>
          </a:lstStyle>
          <a:p>
            <a:pPr lvl="0"/>
            <a:r>
              <a:rPr lang="en-US" dirty="0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6469435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3. Large image + pull-quo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D1AE41D-21BC-F04A-89AB-D025FB1F1AC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628775"/>
            <a:ext cx="12192000" cy="5229225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 algn="r">
              <a:buNone/>
              <a:defRPr sz="18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3318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4" y="1826069"/>
            <a:ext cx="4569776" cy="440338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4000" b="0" i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US" dirty="0"/>
              <a:t>Pull quote: Click to edit Master text Click to edit Master text Click to edit Master text Click to edit Master tex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endParaRPr lang="en-US" dirty="0"/>
          </a:p>
          <a:p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EF1B20-3616-1441-ACB2-3FD549166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104541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3. Large image + box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CE8173F-5AFD-F744-B65A-3C31212B69AA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28774"/>
            <a:ext cx="12191999" cy="5229225"/>
          </a:xfrm>
          <a:prstGeom prst="rect">
            <a:avLst/>
          </a:prstGeom>
          <a:solidFill>
            <a:schemeClr val="accent3"/>
          </a:solidFill>
        </p:spPr>
        <p:txBody>
          <a:bodyPr>
            <a:normAutofit/>
          </a:bodyPr>
          <a:lstStyle>
            <a:lvl1pPr marL="0" indent="0" algn="r">
              <a:buNone/>
              <a:defRPr sz="1800"/>
            </a:lvl1pPr>
          </a:lstStyle>
          <a:p>
            <a:r>
              <a:rPr lang="en-US" dirty="0"/>
              <a:t>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33183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1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EF1B20-3616-1441-ACB2-3FD549166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50863" y="1628775"/>
            <a:ext cx="3529012" cy="577215"/>
          </a:xfrm>
          <a:prstGeom prst="rect">
            <a:avLst/>
          </a:prstGeom>
        </p:spPr>
        <p:txBody>
          <a:bodyPr lIns="180000" tIns="180000" rIns="180000" bIns="18000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 sz="1600" b="1" i="0">
                <a:solidFill>
                  <a:schemeClr val="tx1"/>
                </a:solidFill>
                <a:latin typeface="Museo Sans 700" panose="02000000000000000000" pitchFamily="2" charset="77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ystem Font Regular"/>
              <a:buNone/>
              <a:tabLst/>
              <a:defRPr/>
            </a:pPr>
            <a:r>
              <a:rPr lang="en-US" dirty="0"/>
              <a:t>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AFA6C71-C02E-6840-8FB4-C85BAD7CB2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2193925"/>
            <a:ext cx="3529012" cy="2890838"/>
          </a:xfrm>
          <a:prstGeom prst="rect">
            <a:avLst/>
          </a:prstGeom>
        </p:spPr>
        <p:txBody>
          <a:bodyPr lIns="180000" tIns="180000" rIns="180000" bIns="180000">
            <a:normAutofit/>
          </a:bodyPr>
          <a:lstStyle>
            <a:lvl1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="0" i="0">
                <a:latin typeface="Museo Sans 300" panose="02000000000000000000" pitchFamily="2" charset="77"/>
              </a:defRPr>
            </a:lvl1pPr>
            <a:lvl2pPr marL="284400" indent="-28575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/>
            </a:lvl2pPr>
            <a:lvl3pPr marL="1200150" indent="-285750">
              <a:lnSpc>
                <a:spcPts val="2000"/>
              </a:lnSpc>
              <a:buFont typeface="System Font Regular"/>
              <a:buChar char="–"/>
              <a:defRPr sz="1600"/>
            </a:lvl3pPr>
            <a:lvl4pPr marL="1657350" indent="-285750">
              <a:lnSpc>
                <a:spcPts val="2000"/>
              </a:lnSpc>
              <a:buFont typeface="System Font Regular"/>
              <a:buChar char="–"/>
              <a:defRPr sz="1600"/>
            </a:lvl4pPr>
            <a:lvl5pPr marL="2114550" indent="-285750">
              <a:lnSpc>
                <a:spcPts val="2000"/>
              </a:lnSpc>
              <a:buFont typeface="System Font Regular"/>
              <a:buChar char="–"/>
              <a:defRPr sz="1600"/>
            </a:lvl5pPr>
          </a:lstStyle>
          <a:p>
            <a:pPr lvl="0"/>
            <a:r>
              <a:rPr lang="en-US" dirty="0"/>
              <a:t>Click to edit master text. </a:t>
            </a:r>
            <a:r>
              <a:rPr lang="en-US" dirty="0" err="1"/>
              <a:t>Hightlights</a:t>
            </a:r>
            <a:r>
              <a:rPr lang="en-US" dirty="0"/>
              <a:t> in Museo Sans 700, regular text in Museo Sans 300. </a:t>
            </a:r>
          </a:p>
          <a:p>
            <a:pPr lvl="1"/>
            <a:r>
              <a:rPr lang="en-US" dirty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342288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. Text + image thumbnail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CE8173F-5AFD-F744-B65A-3C31212B69A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50862" y="1628775"/>
            <a:ext cx="1716087" cy="1994536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802" y="1847850"/>
            <a:ext cx="3536948" cy="382905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System Font Regular"/>
              <a:buChar char="–"/>
              <a:tabLst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2454276" y="1628775"/>
            <a:ext cx="9186862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5EF1B20-3616-1441-ACB2-3FD549166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175A7B-0922-324F-99CA-5699A9EB3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86489" y="3692526"/>
            <a:ext cx="5454649" cy="19812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600"/>
              </a:lnSpc>
              <a:buNone/>
              <a:defRPr sz="22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None/>
              <a:defRPr sz="2200" b="1" i="0">
                <a:solidFill>
                  <a:schemeClr val="bg2"/>
                </a:solidFill>
                <a:latin typeface="Museo Sans 700" panose="02000000000000000000" pitchFamily="2" charset="77"/>
              </a:defRPr>
            </a:lvl2pPr>
            <a:lvl3pPr marL="914400" indent="0">
              <a:lnSpc>
                <a:spcPts val="2600"/>
              </a:lnSpc>
              <a:buFont typeface="Arial" panose="020B0604020202020204" pitchFamily="34" charset="0"/>
              <a:buNone/>
              <a:defRPr sz="2200" b="0" i="0">
                <a:solidFill>
                  <a:schemeClr val="bg2"/>
                </a:solidFill>
                <a:latin typeface="Museo Sans 300" panose="02000000000000000000" pitchFamily="2" charset="77"/>
              </a:defRPr>
            </a:lvl3pPr>
          </a:lstStyle>
          <a:p>
            <a:pPr lvl="0"/>
            <a:r>
              <a:rPr lang="en-US" dirty="0"/>
              <a:t>Edit Master text styles: Pull quote</a:t>
            </a:r>
          </a:p>
          <a:p>
            <a:pPr lvl="1"/>
            <a:r>
              <a:rPr lang="en-US" dirty="0"/>
              <a:t>Second level: Quote credit</a:t>
            </a:r>
          </a:p>
          <a:p>
            <a:pPr lvl="2"/>
            <a:endParaRPr lang="en-US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352750-038C-6F43-A13E-341591C96B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83313" y="1851025"/>
            <a:ext cx="3535362" cy="1660525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lnSpc>
                <a:spcPts val="2000"/>
              </a:lnSpc>
              <a:buNone/>
              <a:defRPr sz="1600" b="1" i="0">
                <a:latin typeface="Museo Sans 700" panose="02000000000000000000" pitchFamily="2" charset="77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/>
            </a:lvl2pPr>
            <a:lvl3pPr marL="284400" indent="-285750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4DB60A1-262C-9644-901E-9B462BC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59038" y="6003825"/>
            <a:ext cx="3541712" cy="216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redit lin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752D45F-C52A-4345-95DD-B55B8582E58A}"/>
              </a:ext>
            </a:extLst>
          </p:cNvPr>
          <p:cNvCxnSpPr>
            <a:cxnSpLocks/>
          </p:cNvCxnSpPr>
          <p:nvPr userDrawn="1"/>
        </p:nvCxnSpPr>
        <p:spPr>
          <a:xfrm flipH="1">
            <a:off x="2459038" y="5877832"/>
            <a:ext cx="3541712" cy="0"/>
          </a:xfrm>
          <a:prstGeom prst="line">
            <a:avLst/>
          </a:prstGeom>
          <a:ln w="7620">
            <a:solidFill>
              <a:schemeClr val="accent5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50110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04. Pullquote + text +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CCE8173F-5AFD-F744-B65A-3C31212B69A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06256" y="1639660"/>
            <a:ext cx="2731707" cy="3166161"/>
          </a:xfrm>
          <a:prstGeom prst="rect">
            <a:avLst/>
          </a:prstGeom>
          <a:solidFill>
            <a:schemeClr val="accent3"/>
          </a:solidFill>
        </p:spPr>
        <p:txBody>
          <a:bodyPr/>
          <a:lstStyle>
            <a:lvl1pPr marL="0" indent="0">
              <a:buNone/>
              <a:defRPr sz="1600"/>
            </a:lvl1pPr>
          </a:lstStyle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1255BE8-44DB-4747-B82B-4F15E11A1E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629857"/>
            <a:ext cx="7347776" cy="828829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algn="l">
              <a:defRPr sz="2400" b="0" i="0">
                <a:solidFill>
                  <a:schemeClr val="tx2"/>
                </a:solidFill>
                <a:latin typeface="Museo Sans 500" panose="02000000000000000000" pitchFamily="2" charset="77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C4AE37A-2DF3-BA42-A11B-714632CDFB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926256" y="6313932"/>
            <a:ext cx="1198943" cy="129794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1000" b="0" i="0" cap="all" baseline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r>
              <a:rPr lang="en-US" dirty="0" err="1"/>
              <a:t>Fsd</a:t>
            </a:r>
            <a:r>
              <a:rPr lang="en-US" dirty="0"/>
              <a:t> Africa, 2020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8156DF-E8AF-EF46-A2DF-D9EEC91E7D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11128" y="6313932"/>
            <a:ext cx="330010" cy="125222"/>
          </a:xfrm>
          <a:prstGeom prst="rect">
            <a:avLst/>
          </a:prstGeom>
        </p:spPr>
        <p:txBody>
          <a:bodyPr lIns="0" tIns="0" rIns="0" bIns="0" anchor="b"/>
          <a:lstStyle>
            <a:lvl1pPr algn="r">
              <a:defRPr sz="10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</a:lstStyle>
          <a:p>
            <a:fld id="{DEEAD0B6-45E5-3A43-8421-56464370CF0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11DF9B8-B169-C540-BCF1-1B2DC64EB67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0863" y="351631"/>
            <a:ext cx="5449887" cy="89694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000" b="0" i="0" cap="all" baseline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 sz="1000">
                <a:latin typeface="+mn-lt"/>
              </a:defRPr>
            </a:lvl2pPr>
            <a:lvl3pPr marL="914400" indent="0">
              <a:buNone/>
              <a:defRPr sz="1000">
                <a:latin typeface="+mn-lt"/>
              </a:defRPr>
            </a:lvl3pPr>
            <a:lvl4pPr marL="1371600" indent="0">
              <a:buNone/>
              <a:defRPr sz="1000">
                <a:latin typeface="+mn-lt"/>
              </a:defRPr>
            </a:lvl4pPr>
          </a:lstStyle>
          <a:p>
            <a:pPr lvl="0"/>
            <a:r>
              <a:rPr lang="en-US" dirty="0" err="1"/>
              <a:t>Fsd</a:t>
            </a:r>
            <a:r>
              <a:rPr lang="en-US" dirty="0"/>
              <a:t> Africa presentation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61CFD270-E07B-3746-9E04-00505814D4D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262439" y="1844675"/>
            <a:ext cx="3641724" cy="3822699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 algn="l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System Font Regular"/>
              <a:buNone/>
              <a:defRPr sz="1600" b="1" i="0" baseline="0">
                <a:latin typeface="Museo Sans 700" panose="02000000000000000000" pitchFamily="2" charset="77"/>
              </a:defRPr>
            </a:lvl1pPr>
            <a:lvl2pPr marL="0" indent="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None/>
              <a:defRPr sz="1600" baseline="0"/>
            </a:lvl2pPr>
            <a:lvl3pPr marL="285750" indent="-285750" algn="l">
              <a:lnSpc>
                <a:spcPts val="2000"/>
              </a:lnSpc>
              <a:spcBef>
                <a:spcPts val="0"/>
              </a:spcBef>
              <a:spcAft>
                <a:spcPts val="1000"/>
              </a:spcAft>
              <a:buFont typeface="System Font Regular"/>
              <a:buChar char="–"/>
              <a:defRPr sz="1600" baseline="0"/>
            </a:lvl3pPr>
            <a:lvl4pPr marL="13716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4pPr>
            <a:lvl5pPr marL="1828800" indent="0" algn="ctr">
              <a:lnSpc>
                <a:spcPts val="2000"/>
              </a:lnSpc>
              <a:spcAft>
                <a:spcPts val="1000"/>
              </a:spcAft>
              <a:buNone/>
              <a:defRPr sz="1600" baseline="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D2484228-4248-044D-A03C-425F63ED9A04}"/>
              </a:ext>
            </a:extLst>
          </p:cNvPr>
          <p:cNvCxnSpPr>
            <a:cxnSpLocks/>
          </p:cNvCxnSpPr>
          <p:nvPr userDrawn="1"/>
        </p:nvCxnSpPr>
        <p:spPr>
          <a:xfrm>
            <a:off x="550863" y="1628775"/>
            <a:ext cx="7353300" cy="0"/>
          </a:xfrm>
          <a:prstGeom prst="line">
            <a:avLst/>
          </a:prstGeom>
          <a:ln w="38100">
            <a:solidFill>
              <a:schemeClr val="tx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5EF1B20-3616-1441-ACB2-3FD549166A1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710AF08-9630-CF47-8FC5-494A99BC2961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175A7B-0922-324F-99CA-5699A9EB30F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0863" y="1851024"/>
            <a:ext cx="3529011" cy="3809112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200" b="0" i="0">
                <a:solidFill>
                  <a:schemeClr val="bg2"/>
                </a:solidFill>
                <a:latin typeface="Museo Sans 300" panose="02000000000000000000" pitchFamily="2" charset="77"/>
              </a:defRPr>
            </a:lvl1pPr>
            <a:lvl2pPr marL="0" indent="0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None/>
              <a:defRPr sz="2200" b="1" i="0">
                <a:solidFill>
                  <a:schemeClr val="bg2"/>
                </a:solidFill>
                <a:latin typeface="Museo Sans 700" panose="02000000000000000000" pitchFamily="2" charset="77"/>
              </a:defRPr>
            </a:lvl2pPr>
            <a:lvl3pPr marL="914400" indent="0">
              <a:buFont typeface="Arial" panose="020B0604020202020204" pitchFamily="34" charset="0"/>
              <a:buNone/>
              <a:defRPr sz="2200" b="0" i="0">
                <a:solidFill>
                  <a:schemeClr val="bg2"/>
                </a:solidFill>
                <a:latin typeface="Museo Sans 300" panose="02000000000000000000" pitchFamily="2" charset="77"/>
              </a:defRPr>
            </a:lvl3pPr>
          </a:lstStyle>
          <a:p>
            <a:pPr lvl="0"/>
            <a:r>
              <a:rPr lang="en-US" dirty="0"/>
              <a:t>Edit Master text styles: Pull quote</a:t>
            </a:r>
          </a:p>
          <a:p>
            <a:pPr lvl="1"/>
            <a:r>
              <a:rPr lang="en-US" dirty="0"/>
              <a:t>Second level: Quote credit</a:t>
            </a:r>
          </a:p>
          <a:p>
            <a:pPr lvl="2"/>
            <a:endParaRPr lang="en-US" dirty="0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44DB60A1-262C-9644-901E-9B462BC66BA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59263" y="6003825"/>
            <a:ext cx="3644900" cy="216000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1200" b="0" i="0">
                <a:solidFill>
                  <a:schemeClr val="accent5"/>
                </a:solidFill>
                <a:latin typeface="Museo Sans 300" panose="02000000000000000000" pitchFamily="2" charset="77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redit line</a:t>
            </a:r>
          </a:p>
        </p:txBody>
      </p:sp>
    </p:spTree>
    <p:extLst>
      <p:ext uri="{BB962C8B-B14F-4D97-AF65-F5344CB8AC3E}">
        <p14:creationId xmlns:p14="http://schemas.microsoft.com/office/powerpoint/2010/main" val="28917153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1.emf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1D0D215-728C-1E4C-B938-A588B54321E3}"/>
              </a:ext>
            </a:extLst>
          </p:cNvPr>
          <p:cNvPicPr>
            <a:picLocks noChangeAspect="1"/>
          </p:cNvPicPr>
          <p:nvPr userDrawn="1"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0ADA406-3E80-FA41-9506-D4860C90FCAE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6728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8" r:id="rId4"/>
    <p:sldLayoutId id="2147483709" r:id="rId5"/>
    <p:sldLayoutId id="2147483711" r:id="rId6"/>
    <p:sldLayoutId id="2147483713" r:id="rId7"/>
    <p:sldLayoutId id="2147483715" r:id="rId8"/>
    <p:sldLayoutId id="2147483716" r:id="rId9"/>
    <p:sldLayoutId id="2147483718" r:id="rId10"/>
    <p:sldLayoutId id="2147483719" r:id="rId11"/>
    <p:sldLayoutId id="2147483720" r:id="rId12"/>
    <p:sldLayoutId id="2147483721" r:id="rId13"/>
    <p:sldLayoutId id="2147483723" r:id="rId14"/>
    <p:sldLayoutId id="2147483725" r:id="rId15"/>
    <p:sldLayoutId id="2147483753" r:id="rId16"/>
    <p:sldLayoutId id="2147483749" r:id="rId17"/>
    <p:sldLayoutId id="2147483724" r:id="rId18"/>
    <p:sldLayoutId id="2147483726" r:id="rId19"/>
    <p:sldLayoutId id="2147483728" r:id="rId20"/>
    <p:sldLayoutId id="2147483748" r:id="rId21"/>
    <p:sldLayoutId id="2147483754" r:id="rId22"/>
    <p:sldLayoutId id="2147483772" r:id="rId23"/>
    <p:sldLayoutId id="2147483773" r:id="rId2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tx2"/>
          </a:solidFill>
          <a:latin typeface="Museo Sans 500" panose="02000000000000000000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orient="horz" pos="278">
          <p15:clr>
            <a:srgbClr val="F26B43"/>
          </p15:clr>
        </p15:guide>
        <p15:guide id="3" orient="horz" pos="391">
          <p15:clr>
            <a:srgbClr val="F26B43"/>
          </p15:clr>
        </p15:guide>
        <p15:guide id="4" orient="horz" pos="1026">
          <p15:clr>
            <a:srgbClr val="F26B43"/>
          </p15:clr>
        </p15:guide>
        <p15:guide id="5" pos="7333">
          <p15:clr>
            <a:srgbClr val="F26B43"/>
          </p15:clr>
        </p15:guide>
        <p15:guide id="6" pos="3895">
          <p15:clr>
            <a:srgbClr val="F26B43"/>
          </p15:clr>
        </p15:guide>
        <p15:guide id="7" pos="3780">
          <p15:clr>
            <a:srgbClr val="F26B43"/>
          </p15:clr>
        </p15:guide>
        <p15:guide id="8" pos="5101">
          <p15:clr>
            <a:srgbClr val="F26B43"/>
          </p15:clr>
        </p15:guide>
        <p15:guide id="9" pos="6247">
          <p15:clr>
            <a:srgbClr val="F26B43"/>
          </p15:clr>
        </p15:guide>
        <p15:guide id="10" pos="2683">
          <p15:clr>
            <a:srgbClr val="F26B43"/>
          </p15:clr>
        </p15:guide>
        <p15:guide id="11" pos="2570">
          <p15:clr>
            <a:srgbClr val="F26B43"/>
          </p15:clr>
        </p15:guide>
        <p15:guide id="12" pos="1549">
          <p15:clr>
            <a:srgbClr val="F26B43"/>
          </p15:clr>
        </p15:guide>
        <p15:guide id="14" pos="4979">
          <p15:clr>
            <a:srgbClr val="F26B43"/>
          </p15:clr>
        </p15:guide>
        <p15:guide id="15" pos="6122">
          <p15:clr>
            <a:srgbClr val="F26B43"/>
          </p15:clr>
        </p15:guide>
        <p15:guide id="16" orient="horz" pos="4036">
          <p15:clr>
            <a:srgbClr val="F26B43"/>
          </p15:clr>
        </p15:guide>
        <p15:guide id="17" orient="horz" pos="3918">
          <p15:clr>
            <a:srgbClr val="F26B43"/>
          </p15:clr>
        </p15:guide>
        <p15:guide id="18" pos="14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1D0D215-728C-1E4C-B938-A588B54321E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0ADA406-3E80-FA41-9506-D4860C90FCAE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524920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2" r:id="rId2"/>
    <p:sldLayoutId id="2147483744" r:id="rId3"/>
    <p:sldLayoutId id="2147483745" r:id="rId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tx2"/>
          </a:solidFill>
          <a:latin typeface="Museo Sans 500" panose="02000000000000000000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orient="horz" pos="278">
          <p15:clr>
            <a:srgbClr val="F26B43"/>
          </p15:clr>
        </p15:guide>
        <p15:guide id="3" orient="horz" pos="391">
          <p15:clr>
            <a:srgbClr val="F26B43"/>
          </p15:clr>
        </p15:guide>
        <p15:guide id="4" orient="horz" pos="1026">
          <p15:clr>
            <a:srgbClr val="F26B43"/>
          </p15:clr>
        </p15:guide>
        <p15:guide id="5" pos="7333">
          <p15:clr>
            <a:srgbClr val="F26B43"/>
          </p15:clr>
        </p15:guide>
        <p15:guide id="6" pos="3186">
          <p15:clr>
            <a:srgbClr val="F26B43"/>
          </p15:clr>
        </p15:guide>
        <p15:guide id="8" pos="4608">
          <p15:clr>
            <a:srgbClr val="F26B43"/>
          </p15:clr>
        </p15:guide>
        <p15:guide id="9" pos="6030">
          <p15:clr>
            <a:srgbClr val="F26B43"/>
          </p15:clr>
        </p15:guide>
        <p15:guide id="10" pos="1766">
          <p15:clr>
            <a:srgbClr val="F26B43"/>
          </p15:clr>
        </p15:guide>
        <p15:guide id="11" pos="1652">
          <p15:clr>
            <a:srgbClr val="F26B43"/>
          </p15:clr>
        </p15:guide>
        <p15:guide id="14" pos="4492">
          <p15:clr>
            <a:srgbClr val="F26B43"/>
          </p15:clr>
        </p15:guide>
        <p15:guide id="15" pos="5916">
          <p15:clr>
            <a:srgbClr val="F26B43"/>
          </p15:clr>
        </p15:guide>
        <p15:guide id="16" orient="horz" pos="4036">
          <p15:clr>
            <a:srgbClr val="F26B43"/>
          </p15:clr>
        </p15:guide>
        <p15:guide id="17" orient="horz" pos="3918">
          <p15:clr>
            <a:srgbClr val="F26B43"/>
          </p15:clr>
        </p15:guide>
        <p15:guide id="18" pos="307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1D0D215-728C-1E4C-B938-A588B54321E3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27186" y="268925"/>
            <a:ext cx="1615563" cy="483805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20ADA406-3E80-FA41-9506-D4860C90FCAE}"/>
              </a:ext>
            </a:extLst>
          </p:cNvPr>
          <p:cNvCxnSpPr>
            <a:cxnSpLocks/>
          </p:cNvCxnSpPr>
          <p:nvPr userDrawn="1"/>
        </p:nvCxnSpPr>
        <p:spPr>
          <a:xfrm flipH="1">
            <a:off x="550865" y="6407150"/>
            <a:ext cx="9167810" cy="0"/>
          </a:xfrm>
          <a:prstGeom prst="line">
            <a:avLst/>
          </a:prstGeom>
          <a:ln w="7620">
            <a:solidFill>
              <a:srgbClr val="A0BE44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2751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46" r:id="rId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tx2"/>
          </a:solidFill>
          <a:latin typeface="Museo Sans 500" panose="02000000000000000000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7">
          <p15:clr>
            <a:srgbClr val="F26B43"/>
          </p15:clr>
        </p15:guide>
        <p15:guide id="2" orient="horz" pos="278">
          <p15:clr>
            <a:srgbClr val="F26B43"/>
          </p15:clr>
        </p15:guide>
        <p15:guide id="3" orient="horz" pos="391">
          <p15:clr>
            <a:srgbClr val="F26B43"/>
          </p15:clr>
        </p15:guide>
        <p15:guide id="4" orient="horz" pos="1026">
          <p15:clr>
            <a:srgbClr val="F26B43"/>
          </p15:clr>
        </p15:guide>
        <p15:guide id="5" pos="7333">
          <p15:clr>
            <a:srgbClr val="F26B43"/>
          </p15:clr>
        </p15:guide>
        <p15:guide id="6" pos="2123" userDrawn="1">
          <p15:clr>
            <a:srgbClr val="F26B43"/>
          </p15:clr>
        </p15:guide>
        <p15:guide id="8" pos="3896" userDrawn="1">
          <p15:clr>
            <a:srgbClr val="F26B43"/>
          </p15:clr>
        </p15:guide>
        <p15:guide id="9" pos="5672" userDrawn="1">
          <p15:clr>
            <a:srgbClr val="F26B43"/>
          </p15:clr>
        </p15:guide>
        <p15:guide id="14" pos="3784" userDrawn="1">
          <p15:clr>
            <a:srgbClr val="F26B43"/>
          </p15:clr>
        </p15:guide>
        <p15:guide id="15" pos="5558" userDrawn="1">
          <p15:clr>
            <a:srgbClr val="F26B43"/>
          </p15:clr>
        </p15:guide>
        <p15:guide id="16" orient="horz" pos="4036">
          <p15:clr>
            <a:srgbClr val="F26B43"/>
          </p15:clr>
        </p15:guide>
        <p15:guide id="17" orient="horz" pos="3918">
          <p15:clr>
            <a:srgbClr val="F26B43"/>
          </p15:clr>
        </p15:guide>
        <p15:guide id="18" pos="2009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135330F-6300-4BDE-8A3F-5F2712650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540E33-00FB-4CF3-A884-075BB46F49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484BA0-BFE9-454E-8D54-B08A74D89A3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39EF1E-220C-4089-8AD8-BF709A86468C}" type="datetimeFigureOut">
              <a:rPr lang="en-AU" smtClean="0"/>
              <a:t>29/05/2023</a:t>
            </a:fld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E8C737-57BF-4587-AC74-806D12DFA7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091696-FA20-408F-962F-6018613E3DE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8C75F8-FD8A-441B-B31C-F376C0FEAB8A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91482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6" r:id="rId1"/>
    <p:sldLayoutId id="2147483757" r:id="rId2"/>
    <p:sldLayoutId id="2147483758" r:id="rId3"/>
    <p:sldLayoutId id="2147483759" r:id="rId4"/>
    <p:sldLayoutId id="2147483760" r:id="rId5"/>
    <p:sldLayoutId id="2147483761" r:id="rId6"/>
    <p:sldLayoutId id="2147483762" r:id="rId7"/>
    <p:sldLayoutId id="2147483763" r:id="rId8"/>
    <p:sldLayoutId id="2147483764" r:id="rId9"/>
    <p:sldLayoutId id="2147483765" r:id="rId10"/>
    <p:sldLayoutId id="2147483766" r:id="rId11"/>
    <p:sldLayoutId id="2147483768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tiff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4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1.xml"/><Relationship Id="rId5" Type="http://schemas.openxmlformats.org/officeDocument/2006/relationships/image" Target="../media/image14.png"/><Relationship Id="rId4" Type="http://schemas.openxmlformats.org/officeDocument/2006/relationships/image" Target="../media/image17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18.png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2.xml"/><Relationship Id="rId6" Type="http://schemas.openxmlformats.org/officeDocument/2006/relationships/image" Target="../media/image21.svg"/><Relationship Id="rId5" Type="http://schemas.openxmlformats.org/officeDocument/2006/relationships/image" Target="../media/image20.png"/><Relationship Id="rId10" Type="http://schemas.openxmlformats.org/officeDocument/2006/relationships/image" Target="../media/image14.png"/><Relationship Id="rId4" Type="http://schemas.openxmlformats.org/officeDocument/2006/relationships/image" Target="../media/image19.svg"/><Relationship Id="rId9" Type="http://schemas.openxmlformats.org/officeDocument/2006/relationships/image" Target="../media/image24.jp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14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2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object 2"/>
          <p:cNvGrpSpPr/>
          <p:nvPr/>
        </p:nvGrpSpPr>
        <p:grpSpPr>
          <a:xfrm>
            <a:off x="0" y="0"/>
            <a:ext cx="12217206" cy="6857615"/>
            <a:chOff x="0" y="0"/>
            <a:chExt cx="20104100" cy="11308715"/>
          </a:xfrm>
        </p:grpSpPr>
        <p:pic>
          <p:nvPicPr>
            <p:cNvPr id="3" name="object 3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0" y="0"/>
              <a:ext cx="20104099" cy="11308556"/>
            </a:xfrm>
            <a:prstGeom prst="rect">
              <a:avLst/>
            </a:prstGeom>
          </p:spPr>
        </p:pic>
        <p:sp>
          <p:nvSpPr>
            <p:cNvPr id="4" name="object 4"/>
            <p:cNvSpPr/>
            <p:nvPr/>
          </p:nvSpPr>
          <p:spPr>
            <a:xfrm>
              <a:off x="0" y="8690834"/>
              <a:ext cx="20104100" cy="1361440"/>
            </a:xfrm>
            <a:custGeom>
              <a:avLst/>
              <a:gdLst/>
              <a:ahLst/>
              <a:cxnLst/>
              <a:rect l="l" t="t" r="r" b="b"/>
              <a:pathLst>
                <a:path w="20104100" h="1361440">
                  <a:moveTo>
                    <a:pt x="20104099" y="0"/>
                  </a:moveTo>
                  <a:lnTo>
                    <a:pt x="0" y="0"/>
                  </a:lnTo>
                  <a:lnTo>
                    <a:pt x="0" y="1361215"/>
                  </a:lnTo>
                  <a:lnTo>
                    <a:pt x="20104099" y="1361215"/>
                  </a:lnTo>
                  <a:lnTo>
                    <a:pt x="2010409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sp>
        <p:nvSpPr>
          <p:cNvPr id="5" name="object 5"/>
          <p:cNvSpPr txBox="1">
            <a:spLocks noGrp="1"/>
          </p:cNvSpPr>
          <p:nvPr>
            <p:ph type="title"/>
          </p:nvPr>
        </p:nvSpPr>
        <p:spPr>
          <a:xfrm>
            <a:off x="232159" y="2220977"/>
            <a:ext cx="8770327" cy="1406484"/>
          </a:xfrm>
          <a:prstGeom prst="rect">
            <a:avLst/>
          </a:prstGeom>
        </p:spPr>
        <p:txBody>
          <a:bodyPr vert="horz" wrap="square" lIns="0" tIns="6931" rIns="0" bIns="0" rtlCol="0">
            <a:spAutoFit/>
          </a:bodyPr>
          <a:lstStyle/>
          <a:p>
            <a:pPr marL="7701" marR="3081">
              <a:lnSpc>
                <a:spcPct val="100600"/>
              </a:lnSpc>
              <a:spcBef>
                <a:spcPts val="55"/>
              </a:spcBef>
            </a:pPr>
            <a:r>
              <a:rPr lang="en-GB" sz="3578" spc="100" dirty="0">
                <a:solidFill>
                  <a:srgbClr val="387167"/>
                </a:solidFill>
              </a:rPr>
              <a:t>Leadership with a long-term view</a:t>
            </a:r>
            <a:br>
              <a:rPr lang="en-GB" sz="3578" spc="100" dirty="0">
                <a:solidFill>
                  <a:srgbClr val="387167"/>
                </a:solidFill>
              </a:rPr>
            </a:br>
            <a:r>
              <a:rPr lang="en-GB" sz="2800" spc="100" dirty="0">
                <a:solidFill>
                  <a:srgbClr val="387167"/>
                </a:solidFill>
              </a:rPr>
              <a:t>The role of the insurance industry in driving a sustainable future</a:t>
            </a:r>
          </a:p>
        </p:txBody>
      </p:sp>
      <p:sp>
        <p:nvSpPr>
          <p:cNvPr id="6" name="object 6"/>
          <p:cNvSpPr txBox="1"/>
          <p:nvPr/>
        </p:nvSpPr>
        <p:spPr>
          <a:xfrm>
            <a:off x="232159" y="4086798"/>
            <a:ext cx="4809009" cy="1019749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15403">
              <a:spcBef>
                <a:spcPts val="82"/>
              </a:spcBef>
            </a:pPr>
            <a:r>
              <a:rPr lang="en-GB" sz="1577" b="1" spc="133" dirty="0">
                <a:solidFill>
                  <a:srgbClr val="26A6EC"/>
                </a:solidFill>
                <a:latin typeface="Trebuchet MS"/>
                <a:cs typeface="Trebuchet MS"/>
              </a:rPr>
              <a:t>29</a:t>
            </a:r>
            <a:r>
              <a:rPr lang="en-GB" sz="1577" b="1" spc="133" baseline="30000" dirty="0">
                <a:solidFill>
                  <a:srgbClr val="26A6EC"/>
                </a:solidFill>
                <a:latin typeface="Trebuchet MS"/>
                <a:cs typeface="Trebuchet MS"/>
              </a:rPr>
              <a:t>th</a:t>
            </a:r>
            <a:r>
              <a:rPr lang="en-GB" sz="1577" b="1" spc="133" dirty="0">
                <a:solidFill>
                  <a:srgbClr val="26A6EC"/>
                </a:solidFill>
                <a:latin typeface="Trebuchet MS"/>
                <a:cs typeface="Trebuchet MS"/>
              </a:rPr>
              <a:t> MAY 2023</a:t>
            </a:r>
          </a:p>
          <a:p>
            <a:pPr marL="15403">
              <a:spcBef>
                <a:spcPts val="82"/>
              </a:spcBef>
            </a:pPr>
            <a:endParaRPr lang="en-GB" sz="1577" b="1" spc="133" dirty="0">
              <a:solidFill>
                <a:srgbClr val="26A6EC"/>
              </a:solidFill>
              <a:latin typeface="Trebuchet MS"/>
              <a:cs typeface="Trebuchet MS"/>
            </a:endParaRPr>
          </a:p>
          <a:p>
            <a:pPr marL="15403">
              <a:spcBef>
                <a:spcPts val="82"/>
              </a:spcBef>
            </a:pPr>
            <a:r>
              <a:rPr lang="en-GB" sz="1577" b="1" spc="133" dirty="0">
                <a:latin typeface="Trebuchet MS"/>
                <a:cs typeface="Trebuchet MS"/>
              </a:rPr>
              <a:t>Elias Omondi </a:t>
            </a:r>
          </a:p>
          <a:p>
            <a:pPr marL="15403">
              <a:spcBef>
                <a:spcPts val="82"/>
              </a:spcBef>
            </a:pPr>
            <a:r>
              <a:rPr lang="en-GB" sz="1577" b="1" spc="133" dirty="0">
                <a:latin typeface="Trebuchet MS"/>
                <a:cs typeface="Trebuchet MS"/>
              </a:rPr>
              <a:t>Principal – Innovation for Resilience</a:t>
            </a:r>
          </a:p>
        </p:txBody>
      </p:sp>
      <p:grpSp>
        <p:nvGrpSpPr>
          <p:cNvPr id="7" name="object 7"/>
          <p:cNvGrpSpPr/>
          <p:nvPr/>
        </p:nvGrpSpPr>
        <p:grpSpPr>
          <a:xfrm>
            <a:off x="6009491" y="5342546"/>
            <a:ext cx="6027751" cy="682479"/>
            <a:chOff x="7691920" y="8872452"/>
            <a:chExt cx="9193734" cy="1079718"/>
          </a:xfrm>
        </p:grpSpPr>
        <p:pic>
          <p:nvPicPr>
            <p:cNvPr id="8" name="object 8"/>
            <p:cNvPicPr/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14140296" y="8872452"/>
              <a:ext cx="2745358" cy="1079718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10852763" y="8947078"/>
              <a:ext cx="769920" cy="848431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8486114" y="9216322"/>
              <a:ext cx="137795" cy="337185"/>
            </a:xfrm>
            <a:custGeom>
              <a:avLst/>
              <a:gdLst/>
              <a:ahLst/>
              <a:cxnLst/>
              <a:rect l="l" t="t" r="r" b="b"/>
              <a:pathLst>
                <a:path w="137795" h="337184">
                  <a:moveTo>
                    <a:pt x="75338" y="137398"/>
                  </a:moveTo>
                  <a:lnTo>
                    <a:pt x="29852" y="137398"/>
                  </a:lnTo>
                  <a:lnTo>
                    <a:pt x="29852" y="336848"/>
                  </a:lnTo>
                  <a:lnTo>
                    <a:pt x="75338" y="336848"/>
                  </a:lnTo>
                  <a:lnTo>
                    <a:pt x="75338" y="137398"/>
                  </a:lnTo>
                  <a:close/>
                </a:path>
                <a:path w="137795" h="337184">
                  <a:moveTo>
                    <a:pt x="132194" y="100447"/>
                  </a:moveTo>
                  <a:lnTo>
                    <a:pt x="0" y="100447"/>
                  </a:lnTo>
                  <a:lnTo>
                    <a:pt x="0" y="137398"/>
                  </a:lnTo>
                  <a:lnTo>
                    <a:pt x="132194" y="137398"/>
                  </a:lnTo>
                  <a:lnTo>
                    <a:pt x="132194" y="100447"/>
                  </a:lnTo>
                  <a:close/>
                </a:path>
                <a:path w="137795" h="337184">
                  <a:moveTo>
                    <a:pt x="130289" y="0"/>
                  </a:moveTo>
                  <a:lnTo>
                    <a:pt x="119870" y="0"/>
                  </a:lnTo>
                  <a:lnTo>
                    <a:pt x="93012" y="2792"/>
                  </a:lnTo>
                  <a:lnTo>
                    <a:pt x="63490" y="14868"/>
                  </a:lnTo>
                  <a:lnTo>
                    <a:pt x="39653" y="41779"/>
                  </a:lnTo>
                  <a:lnTo>
                    <a:pt x="29852" y="89075"/>
                  </a:lnTo>
                  <a:lnTo>
                    <a:pt x="29852" y="100447"/>
                  </a:lnTo>
                  <a:lnTo>
                    <a:pt x="75338" y="100447"/>
                  </a:lnTo>
                  <a:lnTo>
                    <a:pt x="75338" y="90018"/>
                  </a:lnTo>
                  <a:lnTo>
                    <a:pt x="80718" y="63384"/>
                  </a:lnTo>
                  <a:lnTo>
                    <a:pt x="93870" y="48209"/>
                  </a:lnTo>
                  <a:lnTo>
                    <a:pt x="110310" y="41384"/>
                  </a:lnTo>
                  <a:lnTo>
                    <a:pt x="125556" y="39799"/>
                  </a:lnTo>
                  <a:lnTo>
                    <a:pt x="137398" y="39799"/>
                  </a:lnTo>
                  <a:lnTo>
                    <a:pt x="137398" y="1424"/>
                  </a:lnTo>
                  <a:lnTo>
                    <a:pt x="130289" y="0"/>
                  </a:lnTo>
                  <a:close/>
                </a:path>
                <a:path w="137795" h="337184">
                  <a:moveTo>
                    <a:pt x="137398" y="39799"/>
                  </a:moveTo>
                  <a:lnTo>
                    <a:pt x="132666" y="39799"/>
                  </a:lnTo>
                  <a:lnTo>
                    <a:pt x="137398" y="40742"/>
                  </a:lnTo>
                  <a:lnTo>
                    <a:pt x="137398" y="39799"/>
                  </a:lnTo>
                  <a:close/>
                </a:path>
              </a:pathLst>
            </a:custGeom>
            <a:solidFill>
              <a:srgbClr val="98C21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pic>
          <p:nvPicPr>
            <p:cNvPr id="12" name="object 12"/>
            <p:cNvPicPr/>
            <p:nvPr/>
          </p:nvPicPr>
          <p:blipFill>
            <a:blip r:embed="rId5" cstate="print"/>
            <a:stretch>
              <a:fillRect/>
            </a:stretch>
          </p:blipFill>
          <p:spPr>
            <a:xfrm>
              <a:off x="8642942" y="9307766"/>
              <a:ext cx="177659" cy="251091"/>
            </a:xfrm>
            <a:prstGeom prst="rect">
              <a:avLst/>
            </a:prstGeom>
          </p:spPr>
        </p:pic>
        <p:sp>
          <p:nvSpPr>
            <p:cNvPr id="13" name="object 13"/>
            <p:cNvSpPr/>
            <p:nvPr/>
          </p:nvSpPr>
          <p:spPr>
            <a:xfrm>
              <a:off x="8858977" y="9218696"/>
              <a:ext cx="228600" cy="340360"/>
            </a:xfrm>
            <a:custGeom>
              <a:avLst/>
              <a:gdLst/>
              <a:ahLst/>
              <a:cxnLst/>
              <a:rect l="l" t="t" r="r" b="b"/>
              <a:pathLst>
                <a:path w="228600" h="340359">
                  <a:moveTo>
                    <a:pt x="108499" y="89065"/>
                  </a:moveTo>
                  <a:lnTo>
                    <a:pt x="64763" y="97956"/>
                  </a:lnTo>
                  <a:lnTo>
                    <a:pt x="30442" y="123238"/>
                  </a:lnTo>
                  <a:lnTo>
                    <a:pt x="8025" y="162822"/>
                  </a:lnTo>
                  <a:lnTo>
                    <a:pt x="0" y="214621"/>
                  </a:lnTo>
                  <a:lnTo>
                    <a:pt x="7381" y="265615"/>
                  </a:lnTo>
                  <a:lnTo>
                    <a:pt x="28489" y="305285"/>
                  </a:lnTo>
                  <a:lnTo>
                    <a:pt x="61768" y="331010"/>
                  </a:lnTo>
                  <a:lnTo>
                    <a:pt x="105661" y="340167"/>
                  </a:lnTo>
                  <a:lnTo>
                    <a:pt x="140197" y="339471"/>
                  </a:lnTo>
                  <a:lnTo>
                    <a:pt x="159900" y="334601"/>
                  </a:lnTo>
                  <a:lnTo>
                    <a:pt x="172143" y="321380"/>
                  </a:lnTo>
                  <a:lnTo>
                    <a:pt x="182063" y="300367"/>
                  </a:lnTo>
                  <a:lnTo>
                    <a:pt x="114656" y="300367"/>
                  </a:lnTo>
                  <a:lnTo>
                    <a:pt x="87280" y="294298"/>
                  </a:lnTo>
                  <a:lnTo>
                    <a:pt x="65857" y="277037"/>
                  </a:lnTo>
                  <a:lnTo>
                    <a:pt x="51898" y="250004"/>
                  </a:lnTo>
                  <a:lnTo>
                    <a:pt x="46909" y="214621"/>
                  </a:lnTo>
                  <a:lnTo>
                    <a:pt x="52387" y="178234"/>
                  </a:lnTo>
                  <a:lnTo>
                    <a:pt x="67280" y="151309"/>
                  </a:lnTo>
                  <a:lnTo>
                    <a:pt x="89281" y="134601"/>
                  </a:lnTo>
                  <a:lnTo>
                    <a:pt x="116080" y="128865"/>
                  </a:lnTo>
                  <a:lnTo>
                    <a:pt x="228359" y="128865"/>
                  </a:lnTo>
                  <a:lnTo>
                    <a:pt x="228359" y="126969"/>
                  </a:lnTo>
                  <a:lnTo>
                    <a:pt x="182402" y="126969"/>
                  </a:lnTo>
                  <a:lnTo>
                    <a:pt x="178650" y="121047"/>
                  </a:lnTo>
                  <a:lnTo>
                    <a:pt x="166238" y="108017"/>
                  </a:lnTo>
                  <a:lnTo>
                    <a:pt x="143432" y="94987"/>
                  </a:lnTo>
                  <a:lnTo>
                    <a:pt x="108499" y="89065"/>
                  </a:lnTo>
                  <a:close/>
                </a:path>
                <a:path w="228600" h="340359">
                  <a:moveTo>
                    <a:pt x="228359" y="295634"/>
                  </a:moveTo>
                  <a:lnTo>
                    <a:pt x="185250" y="295634"/>
                  </a:lnTo>
                  <a:lnTo>
                    <a:pt x="184779" y="302263"/>
                  </a:lnTo>
                  <a:lnTo>
                    <a:pt x="184779" y="334481"/>
                  </a:lnTo>
                  <a:lnTo>
                    <a:pt x="228359" y="334481"/>
                  </a:lnTo>
                  <a:lnTo>
                    <a:pt x="228359" y="295634"/>
                  </a:lnTo>
                  <a:close/>
                </a:path>
                <a:path w="228600" h="340359">
                  <a:moveTo>
                    <a:pt x="228359" y="128865"/>
                  </a:moveTo>
                  <a:lnTo>
                    <a:pt x="116080" y="128865"/>
                  </a:lnTo>
                  <a:lnTo>
                    <a:pt x="145850" y="136193"/>
                  </a:lnTo>
                  <a:lnTo>
                    <a:pt x="167006" y="155513"/>
                  </a:lnTo>
                  <a:lnTo>
                    <a:pt x="179636" y="182828"/>
                  </a:lnTo>
                  <a:lnTo>
                    <a:pt x="183826" y="214140"/>
                  </a:lnTo>
                  <a:lnTo>
                    <a:pt x="178015" y="253397"/>
                  </a:lnTo>
                  <a:lnTo>
                    <a:pt x="162564" y="280173"/>
                  </a:lnTo>
                  <a:lnTo>
                    <a:pt x="140452" y="295489"/>
                  </a:lnTo>
                  <a:lnTo>
                    <a:pt x="114656" y="300367"/>
                  </a:lnTo>
                  <a:lnTo>
                    <a:pt x="182063" y="300367"/>
                  </a:lnTo>
                  <a:lnTo>
                    <a:pt x="184298" y="295634"/>
                  </a:lnTo>
                  <a:lnTo>
                    <a:pt x="228359" y="295634"/>
                  </a:lnTo>
                  <a:lnTo>
                    <a:pt x="228359" y="128865"/>
                  </a:lnTo>
                  <a:close/>
                </a:path>
                <a:path w="228600" h="340359">
                  <a:moveTo>
                    <a:pt x="228359" y="0"/>
                  </a:moveTo>
                  <a:lnTo>
                    <a:pt x="182402" y="0"/>
                  </a:lnTo>
                  <a:lnTo>
                    <a:pt x="182402" y="119860"/>
                  </a:lnTo>
                  <a:lnTo>
                    <a:pt x="183355" y="126969"/>
                  </a:lnTo>
                  <a:lnTo>
                    <a:pt x="228359" y="126969"/>
                  </a:lnTo>
                  <a:lnTo>
                    <a:pt x="228359" y="0"/>
                  </a:lnTo>
                  <a:close/>
                </a:path>
              </a:pathLst>
            </a:custGeom>
            <a:solidFill>
              <a:srgbClr val="98C21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pic>
          <p:nvPicPr>
            <p:cNvPr id="14" name="object 14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9145628" y="9310600"/>
              <a:ext cx="182402" cy="248254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9386778" y="9219164"/>
              <a:ext cx="117475" cy="334010"/>
            </a:xfrm>
            <a:custGeom>
              <a:avLst/>
              <a:gdLst/>
              <a:ahLst/>
              <a:cxnLst/>
              <a:rect l="l" t="t" r="r" b="b"/>
              <a:pathLst>
                <a:path w="117475" h="334009">
                  <a:moveTo>
                    <a:pt x="49736" y="116551"/>
                  </a:moveTo>
                  <a:lnTo>
                    <a:pt x="29842" y="116551"/>
                  </a:lnTo>
                  <a:lnTo>
                    <a:pt x="29842" y="334010"/>
                  </a:lnTo>
                  <a:lnTo>
                    <a:pt x="49736" y="334010"/>
                  </a:lnTo>
                  <a:lnTo>
                    <a:pt x="49736" y="116551"/>
                  </a:lnTo>
                  <a:close/>
                </a:path>
                <a:path w="117475" h="334009">
                  <a:moveTo>
                    <a:pt x="114645" y="98541"/>
                  </a:moveTo>
                  <a:lnTo>
                    <a:pt x="0" y="98541"/>
                  </a:lnTo>
                  <a:lnTo>
                    <a:pt x="0" y="116551"/>
                  </a:lnTo>
                  <a:lnTo>
                    <a:pt x="114645" y="116551"/>
                  </a:lnTo>
                  <a:lnTo>
                    <a:pt x="114645" y="98541"/>
                  </a:lnTo>
                  <a:close/>
                </a:path>
                <a:path w="117475" h="334009">
                  <a:moveTo>
                    <a:pt x="112279" y="0"/>
                  </a:moveTo>
                  <a:lnTo>
                    <a:pt x="104698" y="0"/>
                  </a:lnTo>
                  <a:lnTo>
                    <a:pt x="83009" y="2703"/>
                  </a:lnTo>
                  <a:lnTo>
                    <a:pt x="58388" y="14513"/>
                  </a:lnTo>
                  <a:lnTo>
                    <a:pt x="38207" y="40980"/>
                  </a:lnTo>
                  <a:lnTo>
                    <a:pt x="29926" y="87180"/>
                  </a:lnTo>
                  <a:lnTo>
                    <a:pt x="29842" y="98541"/>
                  </a:lnTo>
                  <a:lnTo>
                    <a:pt x="49736" y="98541"/>
                  </a:lnTo>
                  <a:lnTo>
                    <a:pt x="49736" y="87180"/>
                  </a:lnTo>
                  <a:lnTo>
                    <a:pt x="55881" y="50661"/>
                  </a:lnTo>
                  <a:lnTo>
                    <a:pt x="70822" y="29911"/>
                  </a:lnTo>
                  <a:lnTo>
                    <a:pt x="89316" y="20620"/>
                  </a:lnTo>
                  <a:lnTo>
                    <a:pt x="106122" y="18481"/>
                  </a:lnTo>
                  <a:lnTo>
                    <a:pt x="117022" y="18481"/>
                  </a:lnTo>
                  <a:lnTo>
                    <a:pt x="117022" y="952"/>
                  </a:lnTo>
                  <a:lnTo>
                    <a:pt x="112279" y="0"/>
                  </a:lnTo>
                  <a:close/>
                </a:path>
                <a:path w="117475" h="334009">
                  <a:moveTo>
                    <a:pt x="117022" y="18481"/>
                  </a:moveTo>
                  <a:lnTo>
                    <a:pt x="112750" y="18481"/>
                  </a:lnTo>
                  <a:lnTo>
                    <a:pt x="117022" y="19423"/>
                  </a:lnTo>
                  <a:lnTo>
                    <a:pt x="117022" y="18481"/>
                  </a:lnTo>
                  <a:close/>
                </a:path>
              </a:pathLst>
            </a:custGeom>
            <a:solidFill>
              <a:srgbClr val="98C21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pic>
          <p:nvPicPr>
            <p:cNvPr id="16" name="object 1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9551172" y="9314395"/>
              <a:ext cx="108488" cy="238778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9709417" y="9221552"/>
              <a:ext cx="24130" cy="332105"/>
            </a:xfrm>
            <a:custGeom>
              <a:avLst/>
              <a:gdLst/>
              <a:ahLst/>
              <a:cxnLst/>
              <a:rect l="l" t="t" r="r" b="b"/>
              <a:pathLst>
                <a:path w="24129" h="332104">
                  <a:moveTo>
                    <a:pt x="21793" y="94742"/>
                  </a:moveTo>
                  <a:lnTo>
                    <a:pt x="1892" y="94742"/>
                  </a:lnTo>
                  <a:lnTo>
                    <a:pt x="1892" y="331635"/>
                  </a:lnTo>
                  <a:lnTo>
                    <a:pt x="21793" y="331635"/>
                  </a:lnTo>
                  <a:lnTo>
                    <a:pt x="21793" y="94742"/>
                  </a:lnTo>
                  <a:close/>
                </a:path>
                <a:path w="24129" h="332104">
                  <a:moveTo>
                    <a:pt x="23698" y="0"/>
                  </a:moveTo>
                  <a:lnTo>
                    <a:pt x="0" y="0"/>
                  </a:lnTo>
                  <a:lnTo>
                    <a:pt x="0" y="34582"/>
                  </a:lnTo>
                  <a:lnTo>
                    <a:pt x="23698" y="34582"/>
                  </a:lnTo>
                  <a:lnTo>
                    <a:pt x="23698" y="0"/>
                  </a:lnTo>
                  <a:close/>
                </a:path>
              </a:pathLst>
            </a:custGeom>
            <a:solidFill>
              <a:srgbClr val="98C21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  <p:pic>
          <p:nvPicPr>
            <p:cNvPr id="18" name="object 18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9798004" y="9310607"/>
              <a:ext cx="211773" cy="248254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10056210" y="9310600"/>
              <a:ext cx="182402" cy="248254"/>
            </a:xfrm>
            <a:prstGeom prst="rect">
              <a:avLst/>
            </a:prstGeom>
          </p:spPr>
        </p:pic>
        <p:sp>
          <p:nvSpPr>
            <p:cNvPr id="20" name="object 20"/>
            <p:cNvSpPr/>
            <p:nvPr/>
          </p:nvSpPr>
          <p:spPr>
            <a:xfrm>
              <a:off x="7691920" y="8991783"/>
              <a:ext cx="762000" cy="760095"/>
            </a:xfrm>
            <a:custGeom>
              <a:avLst/>
              <a:gdLst/>
              <a:ahLst/>
              <a:cxnLst/>
              <a:rect l="l" t="t" r="r" b="b"/>
              <a:pathLst>
                <a:path w="762000" h="760095">
                  <a:moveTo>
                    <a:pt x="472617" y="248920"/>
                  </a:moveTo>
                  <a:lnTo>
                    <a:pt x="453961" y="204635"/>
                  </a:lnTo>
                  <a:lnTo>
                    <a:pt x="429958" y="163525"/>
                  </a:lnTo>
                  <a:lnTo>
                    <a:pt x="401027" y="126009"/>
                  </a:lnTo>
                  <a:lnTo>
                    <a:pt x="367639" y="92532"/>
                  </a:lnTo>
                  <a:lnTo>
                    <a:pt x="330200" y="63525"/>
                  </a:lnTo>
                  <a:lnTo>
                    <a:pt x="289166" y="39433"/>
                  </a:lnTo>
                  <a:lnTo>
                    <a:pt x="250012" y="22453"/>
                  </a:lnTo>
                  <a:lnTo>
                    <a:pt x="208699" y="10007"/>
                  </a:lnTo>
                  <a:lnTo>
                    <a:pt x="165506" y="2425"/>
                  </a:lnTo>
                  <a:lnTo>
                    <a:pt x="120751" y="0"/>
                  </a:lnTo>
                  <a:lnTo>
                    <a:pt x="89344" y="1524"/>
                  </a:lnTo>
                  <a:lnTo>
                    <a:pt x="58686" y="5626"/>
                  </a:lnTo>
                  <a:lnTo>
                    <a:pt x="28867" y="12179"/>
                  </a:lnTo>
                  <a:lnTo>
                    <a:pt x="0" y="21056"/>
                  </a:lnTo>
                  <a:lnTo>
                    <a:pt x="101244" y="184442"/>
                  </a:lnTo>
                  <a:lnTo>
                    <a:pt x="158737" y="184086"/>
                  </a:lnTo>
                  <a:lnTo>
                    <a:pt x="215506" y="185801"/>
                  </a:lnTo>
                  <a:lnTo>
                    <a:pt x="271170" y="191592"/>
                  </a:lnTo>
                  <a:lnTo>
                    <a:pt x="325589" y="201295"/>
                  </a:lnTo>
                  <a:lnTo>
                    <a:pt x="378612" y="214757"/>
                  </a:lnTo>
                  <a:lnTo>
                    <a:pt x="430110" y="231838"/>
                  </a:lnTo>
                  <a:lnTo>
                    <a:pt x="450875" y="239890"/>
                  </a:lnTo>
                  <a:lnTo>
                    <a:pt x="472617" y="248920"/>
                  </a:lnTo>
                  <a:close/>
                </a:path>
                <a:path w="762000" h="760095">
                  <a:moveTo>
                    <a:pt x="637273" y="403517"/>
                  </a:moveTo>
                  <a:lnTo>
                    <a:pt x="602208" y="374929"/>
                  </a:lnTo>
                  <a:lnTo>
                    <a:pt x="565365" y="348538"/>
                  </a:lnTo>
                  <a:lnTo>
                    <a:pt x="526859" y="324446"/>
                  </a:lnTo>
                  <a:lnTo>
                    <a:pt x="486791" y="302768"/>
                  </a:lnTo>
                  <a:lnTo>
                    <a:pt x="443763" y="282968"/>
                  </a:lnTo>
                  <a:lnTo>
                    <a:pt x="399288" y="265950"/>
                  </a:lnTo>
                  <a:lnTo>
                    <a:pt x="353479" y="251841"/>
                  </a:lnTo>
                  <a:lnTo>
                    <a:pt x="306425" y="240741"/>
                  </a:lnTo>
                  <a:lnTo>
                    <a:pt x="258254" y="232752"/>
                  </a:lnTo>
                  <a:lnTo>
                    <a:pt x="209080" y="228015"/>
                  </a:lnTo>
                  <a:lnTo>
                    <a:pt x="158991" y="226618"/>
                  </a:lnTo>
                  <a:lnTo>
                    <a:pt x="127495" y="226809"/>
                  </a:lnTo>
                  <a:lnTo>
                    <a:pt x="129882" y="230682"/>
                  </a:lnTo>
                  <a:lnTo>
                    <a:pt x="172161" y="261137"/>
                  </a:lnTo>
                  <a:lnTo>
                    <a:pt x="212217" y="294347"/>
                  </a:lnTo>
                  <a:lnTo>
                    <a:pt x="249910" y="330161"/>
                  </a:lnTo>
                  <a:lnTo>
                    <a:pt x="285102" y="368439"/>
                  </a:lnTo>
                  <a:lnTo>
                    <a:pt x="317652" y="409067"/>
                  </a:lnTo>
                  <a:lnTo>
                    <a:pt x="347421" y="451891"/>
                  </a:lnTo>
                  <a:lnTo>
                    <a:pt x="374281" y="496773"/>
                  </a:lnTo>
                  <a:lnTo>
                    <a:pt x="398106" y="543585"/>
                  </a:lnTo>
                  <a:lnTo>
                    <a:pt x="418731" y="592201"/>
                  </a:lnTo>
                  <a:lnTo>
                    <a:pt x="432955" y="632637"/>
                  </a:lnTo>
                  <a:lnTo>
                    <a:pt x="444957" y="674077"/>
                  </a:lnTo>
                  <a:lnTo>
                    <a:pt x="454634" y="716457"/>
                  </a:lnTo>
                  <a:lnTo>
                    <a:pt x="461937" y="759701"/>
                  </a:lnTo>
                  <a:lnTo>
                    <a:pt x="637273" y="403517"/>
                  </a:lnTo>
                  <a:close/>
                </a:path>
                <a:path w="762000" h="760095">
                  <a:moveTo>
                    <a:pt x="761707" y="150774"/>
                  </a:moveTo>
                  <a:lnTo>
                    <a:pt x="729894" y="187325"/>
                  </a:lnTo>
                  <a:lnTo>
                    <a:pt x="691896" y="217474"/>
                  </a:lnTo>
                  <a:lnTo>
                    <a:pt x="648639" y="240284"/>
                  </a:lnTo>
                  <a:lnTo>
                    <a:pt x="601078" y="254800"/>
                  </a:lnTo>
                  <a:lnTo>
                    <a:pt x="550125" y="260057"/>
                  </a:lnTo>
                  <a:lnTo>
                    <a:pt x="530098" y="259422"/>
                  </a:lnTo>
                  <a:lnTo>
                    <a:pt x="510463" y="257327"/>
                  </a:lnTo>
                  <a:lnTo>
                    <a:pt x="491286" y="253796"/>
                  </a:lnTo>
                  <a:lnTo>
                    <a:pt x="472617" y="248920"/>
                  </a:lnTo>
                  <a:lnTo>
                    <a:pt x="521893" y="273011"/>
                  </a:lnTo>
                  <a:lnTo>
                    <a:pt x="569061" y="300253"/>
                  </a:lnTo>
                  <a:lnTo>
                    <a:pt x="614032" y="330682"/>
                  </a:lnTo>
                  <a:lnTo>
                    <a:pt x="656666" y="364147"/>
                  </a:lnTo>
                  <a:lnTo>
                    <a:pt x="761707" y="150774"/>
                  </a:lnTo>
                  <a:close/>
                </a:path>
              </a:pathLst>
            </a:custGeom>
            <a:solidFill>
              <a:srgbClr val="98C21F"/>
            </a:solidFill>
          </p:spPr>
          <p:txBody>
            <a:bodyPr wrap="square" lIns="0" tIns="0" rIns="0" bIns="0" rtlCol="0"/>
            <a:lstStyle/>
            <a:p>
              <a:endParaRPr sz="1092"/>
            </a:p>
          </p:txBody>
        </p:sp>
      </p:grpSp>
      <p:pic>
        <p:nvPicPr>
          <p:cNvPr id="1026" name="Picture 2" descr="African Insurance Organisation - Five-year strategic plan ...">
            <a:extLst>
              <a:ext uri="{FF2B5EF4-FFF2-40B4-BE49-F238E27FC236}">
                <a16:creationId xmlns:a16="http://schemas.microsoft.com/office/drawing/2014/main" id="{DA43D48D-0440-7D9A-3FAA-0869BACF9C3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95" t="28182" r="12011" b="29848"/>
          <a:stretch/>
        </p:blipFill>
        <p:spPr bwMode="auto">
          <a:xfrm>
            <a:off x="3754256" y="5327924"/>
            <a:ext cx="1947103" cy="73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3311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641D93-8977-B488-D024-32837917B7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SD Afric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6C0F32-81E7-B98D-FCB6-A50F30FA85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AD0B6-45E5-3A43-8421-56464370CF0C}" type="slidenum">
              <a:rPr lang="en-US" smtClean="0"/>
              <a:pPr/>
              <a:t>10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B8837FB-F403-AA6B-6BDE-EE9B028C49C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903" y="233828"/>
            <a:ext cx="11336194" cy="6080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1844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8268519-06F0-AA61-FDD3-AD0DFD699F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SD Afric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7B36C89-F2B1-4E36-689D-296A0F2705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AD0B6-45E5-3A43-8421-56464370CF0C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A338325-3D2D-ED25-110B-BD520B932D1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765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90498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AC4660-E99D-10E5-02E2-A48D6B6A72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318" y="655842"/>
            <a:ext cx="7347776" cy="828829"/>
          </a:xfrm>
        </p:spPr>
        <p:txBody>
          <a:bodyPr/>
          <a:lstStyle/>
          <a:p>
            <a:r>
              <a:rPr lang="en-GB" dirty="0"/>
              <a:t>The Future is </a:t>
            </a:r>
            <a:r>
              <a:rPr lang="en-GB" b="1" dirty="0"/>
              <a:t>Sustainable Insurance</a:t>
            </a:r>
            <a:endParaRPr lang="en-KE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44D52-2CB6-B498-44C5-48772C011D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SD Afric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88F1B50-828C-F6B4-B1C1-C8F086D4DB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AD0B6-45E5-3A43-8421-56464370CF0C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D1C80072-3300-03BF-21EE-085731ACB64B}"/>
              </a:ext>
            </a:extLst>
          </p:cNvPr>
          <p:cNvSpPr txBox="1">
            <a:spLocks/>
          </p:cNvSpPr>
          <p:nvPr/>
        </p:nvSpPr>
        <p:spPr>
          <a:xfrm>
            <a:off x="261750" y="2136816"/>
            <a:ext cx="6419708" cy="3431264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Sustainable insurance is a strategic approach where all </a:t>
            </a:r>
            <a:r>
              <a:rPr lang="en-GB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activities in the insurance value chain</a:t>
            </a:r>
            <a:r>
              <a:rPr lang="en-GB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, including </a:t>
            </a:r>
            <a:r>
              <a:rPr lang="en-GB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interactions with stakeholders</a:t>
            </a:r>
            <a:r>
              <a:rPr lang="en-GB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, are done in a </a:t>
            </a:r>
            <a:r>
              <a:rPr lang="en-GB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responsible and forward-looking</a:t>
            </a:r>
            <a:r>
              <a:rPr lang="en-GB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 way by identifying, assessing, managing and monitoring risks and opportunities associated with </a:t>
            </a:r>
            <a:r>
              <a:rPr lang="en-GB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nvironmental, social and governance issues</a:t>
            </a:r>
            <a:r>
              <a:rPr lang="en-GB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. </a:t>
            </a:r>
          </a:p>
          <a:p>
            <a:pPr>
              <a:lnSpc>
                <a:spcPct val="100000"/>
              </a:lnSpc>
            </a:pPr>
            <a:r>
              <a:rPr lang="en-GB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Sustainable insurance aims to </a:t>
            </a:r>
            <a:r>
              <a:rPr lang="en-GB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reduce risk</a:t>
            </a:r>
            <a:r>
              <a:rPr lang="en-GB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, </a:t>
            </a:r>
            <a:r>
              <a:rPr lang="en-GB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develop innovative solutions</a:t>
            </a:r>
            <a:r>
              <a:rPr lang="en-GB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, </a:t>
            </a:r>
            <a:r>
              <a:rPr lang="en-GB" sz="20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improve business performance</a:t>
            </a:r>
            <a:r>
              <a:rPr lang="en-GB" sz="2000" dirty="0">
                <a:latin typeface="Calibri Light" panose="020F0302020204030204" pitchFamily="34" charset="0"/>
                <a:cs typeface="Calibri Light" panose="020F0302020204030204" pitchFamily="34" charset="0"/>
              </a:rPr>
              <a:t>, and contribute to environmental, social and economic sustainability.</a:t>
            </a:r>
            <a:r>
              <a:rPr lang="en-GB" sz="1800" dirty="0"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endParaRPr lang="en-US" sz="2000" b="1" dirty="0">
              <a:solidFill>
                <a:schemeClr val="tx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F659EC9-D1BB-4404-3290-1F4C6AD2A6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4932" r="1" b="19315"/>
          <a:stretch/>
        </p:blipFill>
        <p:spPr>
          <a:xfrm>
            <a:off x="6485515" y="1687287"/>
            <a:ext cx="5540458" cy="4049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92380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A85F5A6A-36F6-BD4B-B7FB-05C28B46FB3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74954" y="1262775"/>
            <a:ext cx="8035415" cy="735121"/>
          </a:xfrm>
        </p:spPr>
        <p:txBody>
          <a:bodyPr>
            <a:noAutofit/>
          </a:bodyPr>
          <a:lstStyle/>
          <a:p>
            <a:r>
              <a:rPr lang="en-US" sz="5400" dirty="0"/>
              <a:t>Thanks!</a:t>
            </a:r>
          </a:p>
        </p:txBody>
      </p:sp>
    </p:spTree>
    <p:extLst>
      <p:ext uri="{BB962C8B-B14F-4D97-AF65-F5344CB8AC3E}">
        <p14:creationId xmlns:p14="http://schemas.microsoft.com/office/powerpoint/2010/main" val="30144212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34D6B43-194C-788B-DFE8-AB6188D1F2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SD Afric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6B02EB4-57D1-59D2-9478-FDFF31C332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AD0B6-45E5-3A43-8421-56464370CF0C}" type="slidenum">
              <a:rPr lang="en-US" smtClean="0"/>
              <a:pPr/>
              <a:t>2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DE7F462-BB2E-1992-3628-A2BFEE1F5D9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3927" y="175657"/>
            <a:ext cx="9296400" cy="6506685"/>
          </a:xfrm>
          <a:prstGeom prst="rect">
            <a:avLst/>
          </a:prstGeom>
        </p:spPr>
      </p:pic>
      <p:pic>
        <p:nvPicPr>
          <p:cNvPr id="2" name="Picture 2" descr="African Insurance Organisation - Five-year strategic plan ...">
            <a:extLst>
              <a:ext uri="{FF2B5EF4-FFF2-40B4-BE49-F238E27FC236}">
                <a16:creationId xmlns:a16="http://schemas.microsoft.com/office/drawing/2014/main" id="{F9F654E1-F935-0BAC-F797-A2C610F345B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95" t="28182" r="12011" b="29848"/>
          <a:stretch/>
        </p:blipFill>
        <p:spPr bwMode="auto">
          <a:xfrm>
            <a:off x="9926256" y="5944071"/>
            <a:ext cx="1947103" cy="73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89174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BB06AAD-65AB-1487-2F3F-0F00E26BF7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296316"/>
            <a:ext cx="6574663" cy="430239"/>
          </a:xfrm>
        </p:spPr>
        <p:txBody>
          <a:bodyPr/>
          <a:lstStyle/>
          <a:p>
            <a:r>
              <a:rPr lang="en-GB" dirty="0"/>
              <a:t>The role of business has evolved</a:t>
            </a:r>
            <a:endParaRPr lang="en-K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F685134-E3FF-8D8E-14A9-A1040F7E23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SD Afric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2DA6493-6A87-6C40-E4AA-397EC3D84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AD0B6-45E5-3A43-8421-56464370CF0C}" type="slidenum">
              <a:rPr lang="en-US" smtClean="0"/>
              <a:pPr/>
              <a:t>3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E2649A-4E9C-0679-5917-3925E680FC3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5244" y="844976"/>
            <a:ext cx="9183940" cy="544571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2EA98985-99D0-571C-C4A5-B8010C50F17E}"/>
              </a:ext>
            </a:extLst>
          </p:cNvPr>
          <p:cNvSpPr txBox="1"/>
          <p:nvPr/>
        </p:nvSpPr>
        <p:spPr>
          <a:xfrm>
            <a:off x="556387" y="6409108"/>
            <a:ext cx="609750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800" dirty="0"/>
              <a:t>Sources: 1. Samans, R. and Nelson, J. (2020). Walking the Talk of Stakeholder Capitalism. | 2. Godfrey, P. C. and Hatch, N. W. (2007). Researching Corporate Social Responsibility: An Agenda for the 21st Century. | 3. Smith, N. C. (1994). The New Corporate Philanthropy, Harvard Business Review</a:t>
            </a:r>
            <a:endParaRPr lang="en-KE" sz="800" dirty="0"/>
          </a:p>
        </p:txBody>
      </p:sp>
      <p:pic>
        <p:nvPicPr>
          <p:cNvPr id="3" name="Picture 2" descr="African Insurance Organisation - Five-year strategic plan ...">
            <a:extLst>
              <a:ext uri="{FF2B5EF4-FFF2-40B4-BE49-F238E27FC236}">
                <a16:creationId xmlns:a16="http://schemas.microsoft.com/office/drawing/2014/main" id="{433CA794-E2A0-A2A0-567D-8A62AFBAF2F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95" t="28182" r="12011" b="29848"/>
          <a:stretch/>
        </p:blipFill>
        <p:spPr bwMode="auto">
          <a:xfrm>
            <a:off x="9758681" y="5763180"/>
            <a:ext cx="2353292" cy="8922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85042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>
            <a:extLst>
              <a:ext uri="{FF2B5EF4-FFF2-40B4-BE49-F238E27FC236}">
                <a16:creationId xmlns:a16="http://schemas.microsoft.com/office/drawing/2014/main" id="{C6CE9BEB-888B-4B49-B9BB-7DC4103FEC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6" imgH="416" progId="TCLayout.ActiveDocument.1">
                  <p:embed/>
                </p:oleObj>
              </mc:Choice>
              <mc:Fallback>
                <p:oleObj name="think-cell Slide" r:id="rId3" imgW="416" imgH="416" progId="TCLayout.ActiveDocument.1">
                  <p:embed/>
                  <p:pic>
                    <p:nvPicPr>
                      <p:cNvPr id="22" name="Object 21" hidden="1">
                        <a:extLst>
                          <a:ext uri="{FF2B5EF4-FFF2-40B4-BE49-F238E27FC236}">
                            <a16:creationId xmlns:a16="http://schemas.microsoft.com/office/drawing/2014/main" id="{C6CE9BEB-888B-4B49-B9BB-7DC4103FEC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Title 1">
            <a:extLst>
              <a:ext uri="{FF2B5EF4-FFF2-40B4-BE49-F238E27FC236}">
                <a16:creationId xmlns:a16="http://schemas.microsoft.com/office/drawing/2014/main" id="{9446A9D1-8D56-4489-B054-80FEF23D22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2025" y="438083"/>
            <a:ext cx="10515601" cy="440573"/>
          </a:xfrm>
        </p:spPr>
        <p:txBody>
          <a:bodyPr vert="horz">
            <a:normAutofit fontScale="90000"/>
          </a:bodyPr>
          <a:lstStyle/>
          <a:p>
            <a:r>
              <a:rPr lang="en-ZA" dirty="0"/>
              <a:t>Climate and nature-related risks dominate the global risk regist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9A1421-562F-4CD2-9367-F33C5BFB3F02}"/>
              </a:ext>
            </a:extLst>
          </p:cNvPr>
          <p:cNvSpPr/>
          <p:nvPr/>
        </p:nvSpPr>
        <p:spPr>
          <a:xfrm>
            <a:off x="452025" y="1204343"/>
            <a:ext cx="5410198" cy="292433"/>
          </a:xfrm>
          <a:prstGeom prst="rect">
            <a:avLst/>
          </a:prstGeom>
          <a:solidFill>
            <a:schemeClr val="bg1"/>
          </a:solidFill>
          <a:ln w="19050">
            <a:noFill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r>
              <a:rPr lang="en-ZA" sz="1400" b="1" kern="0" dirty="0">
                <a:solidFill>
                  <a:schemeClr val="tx1"/>
                </a:solidFill>
              </a:rPr>
              <a:t>Top 5 Global Risks in terms of likelihood</a:t>
            </a:r>
            <a:endParaRPr lang="en-ZA" sz="1400" b="1" kern="0" baseline="30000" dirty="0">
              <a:solidFill>
                <a:schemeClr val="tx1"/>
              </a:solidFill>
            </a:endParaRP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352A533F-19E2-4803-B1E3-E12D53847B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2496437"/>
              </p:ext>
            </p:extLst>
          </p:nvPr>
        </p:nvGraphicFramePr>
        <p:xfrm>
          <a:off x="2334689" y="1494431"/>
          <a:ext cx="6232393" cy="3869138"/>
        </p:xfrm>
        <a:graphic>
          <a:graphicData uri="http://schemas.openxmlformats.org/drawingml/2006/table">
            <a:tbl>
              <a:tblPr firstRow="1" bandRow="1"/>
              <a:tblGrid>
                <a:gridCol w="326908">
                  <a:extLst>
                    <a:ext uri="{9D8B030D-6E8A-4147-A177-3AD203B41FA5}">
                      <a16:colId xmlns:a16="http://schemas.microsoft.com/office/drawing/2014/main" val="495048883"/>
                    </a:ext>
                  </a:extLst>
                </a:gridCol>
                <a:gridCol w="1181097">
                  <a:extLst>
                    <a:ext uri="{9D8B030D-6E8A-4147-A177-3AD203B41FA5}">
                      <a16:colId xmlns:a16="http://schemas.microsoft.com/office/drawing/2014/main" val="1761965832"/>
                    </a:ext>
                  </a:extLst>
                </a:gridCol>
                <a:gridCol w="1181097">
                  <a:extLst>
                    <a:ext uri="{9D8B030D-6E8A-4147-A177-3AD203B41FA5}">
                      <a16:colId xmlns:a16="http://schemas.microsoft.com/office/drawing/2014/main" val="1223726697"/>
                    </a:ext>
                  </a:extLst>
                </a:gridCol>
                <a:gridCol w="1181097">
                  <a:extLst>
                    <a:ext uri="{9D8B030D-6E8A-4147-A177-3AD203B41FA5}">
                      <a16:colId xmlns:a16="http://schemas.microsoft.com/office/drawing/2014/main" val="894918819"/>
                    </a:ext>
                  </a:extLst>
                </a:gridCol>
                <a:gridCol w="1181097">
                  <a:extLst>
                    <a:ext uri="{9D8B030D-6E8A-4147-A177-3AD203B41FA5}">
                      <a16:colId xmlns:a16="http://schemas.microsoft.com/office/drawing/2014/main" val="2583393803"/>
                    </a:ext>
                  </a:extLst>
                </a:gridCol>
                <a:gridCol w="1181097">
                  <a:extLst>
                    <a:ext uri="{9D8B030D-6E8A-4147-A177-3AD203B41FA5}">
                      <a16:colId xmlns:a16="http://schemas.microsoft.com/office/drawing/2014/main" val="1459188501"/>
                    </a:ext>
                  </a:extLst>
                </a:gridCol>
              </a:tblGrid>
              <a:tr h="34168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endParaRPr lang="en-GB" sz="1000" dirty="0">
                        <a:solidFill>
                          <a:schemeClr val="tx1"/>
                        </a:solidFill>
                        <a:latin typeface="+mn-lt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3152" marR="73152" marT="27432" marB="27432">
                    <a:lnL>
                      <a:noFill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2019</a:t>
                      </a:r>
                    </a:p>
                  </a:txBody>
                  <a:tcPr marL="73152" marR="73152" marT="27432" marB="27432" anchor="b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b="1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2020</a:t>
                      </a:r>
                    </a:p>
                  </a:txBody>
                  <a:tcPr marL="73152" marR="73152" marT="27432" marB="27432" anchor="b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45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88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31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975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20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461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706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949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2021</a:t>
                      </a:r>
                    </a:p>
                  </a:txBody>
                  <a:tcPr marL="73152" marR="73152" marT="27432" marB="27432" anchor="b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2022</a:t>
                      </a:r>
                    </a:p>
                  </a:txBody>
                  <a:tcPr marL="73152" marR="73152" marT="27432" marB="27432" anchor="b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2023</a:t>
                      </a:r>
                    </a:p>
                  </a:txBody>
                  <a:tcPr marL="73152" marR="73152" marT="27432" marB="27432" anchor="b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676271"/>
                  </a:ext>
                </a:extLst>
              </a:tr>
              <a:tr h="705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1</a:t>
                      </a:r>
                    </a:p>
                  </a:txBody>
                  <a:tcPr marL="73152" marR="73152" marT="27432" marB="27432" anchor="ctr">
                    <a:lnL>
                      <a:noFill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Extreme weather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Extreme weather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>
                      <a:lvl1pPr marL="0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45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88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31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975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20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461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706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949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Extreme weather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Climate action failure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Failure to mitigate climate change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0442479"/>
                  </a:ext>
                </a:extLst>
              </a:tr>
              <a:tr h="705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2</a:t>
                      </a:r>
                    </a:p>
                  </a:txBody>
                  <a:tcPr marL="73152" marR="73152" marT="27432" marB="27432" anchor="ctr">
                    <a:lnL>
                      <a:noFill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limate action failure</a:t>
                      </a:r>
                      <a:endParaRPr kumimoji="0" lang="en-GB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limate action failure</a:t>
                      </a:r>
                      <a:endParaRPr kumimoji="0" lang="en-GB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>
                      <a:lvl1pPr marL="0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45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88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31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975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20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461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706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949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0" cap="none" spc="0" normalizeH="0" baseline="0" noProof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limate action failure</a:t>
                      </a:r>
                      <a:endParaRPr kumimoji="0" lang="en-GB" sz="10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+mn-lt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Extreme weather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0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Failure of climate change adaptation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881284"/>
                  </a:ext>
                </a:extLst>
              </a:tr>
              <a:tr h="705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73152" marR="73152" marT="27432" marB="27432" anchor="ctr">
                    <a:lnL>
                      <a:noFill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Natural disasters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Natural </a:t>
                      </a:r>
                      <a:r>
                        <a:rPr lang="en-GB" sz="1000" kern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disasters</a:t>
                      </a:r>
                      <a:endParaRPr lang="en-GB" sz="1000" dirty="0">
                        <a:solidFill>
                          <a:schemeClr val="bg1"/>
                        </a:solidFill>
                        <a:latin typeface="+mn-lt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>
                      <a:lvl1pPr marL="0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45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88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31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975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20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461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706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949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Human-made environmental damage</a:t>
                      </a:r>
                      <a:endParaRPr lang="en-GB" sz="1000" b="0" dirty="0">
                        <a:solidFill>
                          <a:schemeClr val="bg1"/>
                        </a:solidFill>
                        <a:latin typeface="+mn-lt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Biodiversity loss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Natural disasters and extreme weather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44648999"/>
                  </a:ext>
                </a:extLst>
              </a:tr>
              <a:tr h="705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4</a:t>
                      </a:r>
                    </a:p>
                  </a:txBody>
                  <a:tcPr marL="73152" marR="73152" marT="27432" marB="27432" anchor="ctr">
                    <a:lnL>
                      <a:noFill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Data fraud or theft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246A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Biodiversity loss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>
                      <a:lvl1pPr marL="0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45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88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31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975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20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461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706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949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Infectious diseases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204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Social cohesion erosion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204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Biodiversity loss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5360755"/>
                  </a:ext>
                </a:extLst>
              </a:tr>
              <a:tr h="70549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5</a:t>
                      </a:r>
                    </a:p>
                  </a:txBody>
                  <a:tcPr marL="73152" marR="73152" marT="27432" marB="27432" anchor="ctr">
                    <a:lnL>
                      <a:noFill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DADADA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Cyberattacks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246A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1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3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5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72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90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108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126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1440000" algn="l" defTabSz="914400" rtl="0" eaLnBrk="1" latinLnBrk="0" hangingPunct="1">
                        <a:defRPr sz="1200" kern="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r>
                        <a:rPr lang="en-GB" sz="100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Human-made environmental disaster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>
                      <a:lvl1pPr marL="0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1pPr>
                      <a:lvl2pPr marL="457245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2pPr>
                      <a:lvl3pPr marL="914488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3pPr>
                      <a:lvl4pPr marL="1371731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4pPr>
                      <a:lvl5pPr marL="1828975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5pPr>
                      <a:lvl6pPr marL="2286220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6pPr>
                      <a:lvl7pPr marL="2743461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7pPr>
                      <a:lvl8pPr marL="3200706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8pPr>
                      <a:lvl9pPr marL="3657949" algn="l" defTabSz="914488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/>
                        </a:defRPr>
                      </a:lvl9pPr>
                    </a:lstStyle>
                    <a:p>
                      <a:pPr algn="ctr"/>
                      <a:r>
                        <a:rPr lang="en-GB" sz="1000" b="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Biodiversity</a:t>
                      </a:r>
                      <a:br>
                        <a:rPr lang="en-GB" sz="1000" b="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GB" sz="1000" b="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loss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813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kern="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Livelihood crises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204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000" b="0" dirty="0">
                          <a:solidFill>
                            <a:schemeClr val="bg1"/>
                          </a:solidFill>
                          <a:latin typeface="+mn-lt" panose="020F0502020204030204" pitchFamily="34" charset="0"/>
                          <a:cs typeface="Calibri" panose="020F0502020204030204" pitchFamily="34" charset="0"/>
                        </a:rPr>
                        <a:t>Large scale involuntary migration</a:t>
                      </a:r>
                    </a:p>
                  </a:txBody>
                  <a:tcPr marL="73152" marR="73152" marT="27432" marB="27432"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5204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7870158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F34E390A-23B9-401A-AAE0-F336041EFE91}"/>
              </a:ext>
            </a:extLst>
          </p:cNvPr>
          <p:cNvSpPr txBox="1"/>
          <p:nvPr/>
        </p:nvSpPr>
        <p:spPr>
          <a:xfrm>
            <a:off x="1081056" y="5663283"/>
            <a:ext cx="5049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Economic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C52CC3F-375D-4D15-9703-D24E0444973B}"/>
              </a:ext>
            </a:extLst>
          </p:cNvPr>
          <p:cNvSpPr/>
          <p:nvPr/>
        </p:nvSpPr>
        <p:spPr>
          <a:xfrm>
            <a:off x="846715" y="5663283"/>
            <a:ext cx="144000" cy="144000"/>
          </a:xfrm>
          <a:prstGeom prst="rect">
            <a:avLst/>
          </a:prstGeom>
          <a:solidFill>
            <a:srgbClr val="009DE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F629277-C232-4F68-9CAC-BF5F0B53902D}"/>
              </a:ext>
            </a:extLst>
          </p:cNvPr>
          <p:cNvSpPr txBox="1"/>
          <p:nvPr/>
        </p:nvSpPr>
        <p:spPr>
          <a:xfrm>
            <a:off x="1953175" y="5663283"/>
            <a:ext cx="76302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Environmental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F6AF6FD-F5DD-498F-8C6E-1029D53CC91B}"/>
              </a:ext>
            </a:extLst>
          </p:cNvPr>
          <p:cNvSpPr/>
          <p:nvPr/>
        </p:nvSpPr>
        <p:spPr>
          <a:xfrm>
            <a:off x="1718533" y="5668227"/>
            <a:ext cx="144000" cy="144000"/>
          </a:xfrm>
          <a:prstGeom prst="rect">
            <a:avLst/>
          </a:prstGeom>
          <a:solidFill>
            <a:srgbClr val="00813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049EEC6-AF5C-444B-8A87-E2CF20BD1135}"/>
              </a:ext>
            </a:extLst>
          </p:cNvPr>
          <p:cNvSpPr txBox="1"/>
          <p:nvPr/>
        </p:nvSpPr>
        <p:spPr>
          <a:xfrm>
            <a:off x="3091560" y="5663283"/>
            <a:ext cx="6203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Geopolitica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22EDF4B-6E5A-4CCB-BF04-E33B48EBE6E0}"/>
              </a:ext>
            </a:extLst>
          </p:cNvPr>
          <p:cNvSpPr/>
          <p:nvPr/>
        </p:nvSpPr>
        <p:spPr>
          <a:xfrm>
            <a:off x="2870509" y="5668227"/>
            <a:ext cx="144000" cy="144000"/>
          </a:xfrm>
          <a:prstGeom prst="rect">
            <a:avLst/>
          </a:prstGeom>
          <a:solidFill>
            <a:srgbClr val="FFBE0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C86353CD-30B8-4A92-8B94-A93D98CC3A73}"/>
              </a:ext>
            </a:extLst>
          </p:cNvPr>
          <p:cNvSpPr txBox="1"/>
          <p:nvPr/>
        </p:nvSpPr>
        <p:spPr>
          <a:xfrm>
            <a:off x="4860150" y="5663283"/>
            <a:ext cx="71333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Technologica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DF4EC8E-ABBF-4FAF-B010-6E63AB307093}"/>
              </a:ext>
            </a:extLst>
          </p:cNvPr>
          <p:cNvSpPr/>
          <p:nvPr/>
        </p:nvSpPr>
        <p:spPr>
          <a:xfrm>
            <a:off x="4644747" y="5668227"/>
            <a:ext cx="144000" cy="144000"/>
          </a:xfrm>
          <a:prstGeom prst="rect">
            <a:avLst/>
          </a:prstGeom>
          <a:solidFill>
            <a:srgbClr val="8246AF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FE1D286-AD3F-459A-A4E8-AFD965F25152}"/>
              </a:ext>
            </a:extLst>
          </p:cNvPr>
          <p:cNvSpPr txBox="1"/>
          <p:nvPr/>
        </p:nvSpPr>
        <p:spPr>
          <a:xfrm>
            <a:off x="4094505" y="5663283"/>
            <a:ext cx="407163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cs typeface="Calibri" panose="020F0502020204030204" pitchFamily="34" charset="0"/>
              </a:rPr>
              <a:t>Societa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2372E0C-D681-4702-ACBD-53B9F294DC20}"/>
              </a:ext>
            </a:extLst>
          </p:cNvPr>
          <p:cNvSpPr/>
          <p:nvPr/>
        </p:nvSpPr>
        <p:spPr>
          <a:xfrm>
            <a:off x="3879102" y="5668227"/>
            <a:ext cx="144000" cy="144000"/>
          </a:xfrm>
          <a:prstGeom prst="rect">
            <a:avLst/>
          </a:prstGeom>
          <a:solidFill>
            <a:srgbClr val="EF4E4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cs typeface="Calibri" panose="020F0502020204030204" pitchFamily="34" charset="0"/>
            </a:endParaRPr>
          </a:p>
        </p:txBody>
      </p:sp>
      <p:pic>
        <p:nvPicPr>
          <p:cNvPr id="2" name="Picture 2" descr="African Insurance Organisation - Five-year strategic plan ...">
            <a:extLst>
              <a:ext uri="{FF2B5EF4-FFF2-40B4-BE49-F238E27FC236}">
                <a16:creationId xmlns:a16="http://schemas.microsoft.com/office/drawing/2014/main" id="{A504E0CE-EB31-30EB-046D-B8906F92FAF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95" t="28182" r="12011" b="29848"/>
          <a:stretch/>
        </p:blipFill>
        <p:spPr bwMode="auto">
          <a:xfrm>
            <a:off x="10111513" y="5904867"/>
            <a:ext cx="1947103" cy="73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14504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9899C-C200-0932-F8C3-91B85EE616A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6" y="629857"/>
            <a:ext cx="9610655" cy="828829"/>
          </a:xfrm>
        </p:spPr>
        <p:txBody>
          <a:bodyPr>
            <a:normAutofit fontScale="90000"/>
          </a:bodyPr>
          <a:lstStyle/>
          <a:p>
            <a:r>
              <a:rPr lang="en-GB" sz="3600" dirty="0"/>
              <a:t>Africa is in a perilous climate position</a:t>
            </a:r>
            <a:br>
              <a:rPr lang="en-GB" dirty="0"/>
            </a:br>
            <a:br>
              <a:rPr lang="en-GB" dirty="0"/>
            </a:br>
            <a:endParaRPr lang="en-K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D13A30-7894-AF3B-D097-D7E69362B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AD0B6-45E5-3A43-8421-56464370CF0C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6291E508-DF8C-2B61-7F6A-AE3A48ADD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50862" y="1852654"/>
            <a:ext cx="5545137" cy="3715227"/>
          </a:xfrm>
        </p:spPr>
        <p:txBody>
          <a:bodyPr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C28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frica’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82C28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contribution to global emissions is minima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282C28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, yet economic and geographic factors make it the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282C28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most climate vulnerable continen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282C28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282C28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30 of the world’s 40 most climate vulnerable countries are in SSA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282C28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GDP of African nations is very exposed to extreme climate patterns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282C28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frica’s GDP could be down by up to 30% by 2050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282C28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Some countries are already incurring losses up to 10% of their GDP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282C28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23% of Africa’s GDP is dependent on nature</a:t>
            </a:r>
          </a:p>
          <a:p>
            <a:pPr marL="457200" marR="0" lvl="1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srgbClr val="282C28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387167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But - currently only 3% of global green finance goes to Africa</a:t>
            </a: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387167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!</a:t>
            </a:r>
          </a:p>
          <a:p>
            <a:endParaRPr lang="en-KE" dirty="0"/>
          </a:p>
        </p:txBody>
      </p:sp>
      <p:pic>
        <p:nvPicPr>
          <p:cNvPr id="7" name="Picture 2" descr="African Insurance Organisation - Five-year strategic plan ...">
            <a:extLst>
              <a:ext uri="{FF2B5EF4-FFF2-40B4-BE49-F238E27FC236}">
                <a16:creationId xmlns:a16="http://schemas.microsoft.com/office/drawing/2014/main" id="{333E31B5-36E7-4128-2436-C5EACE3BBCC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95" t="28182" r="12011" b="29848"/>
          <a:stretch/>
        </p:blipFill>
        <p:spPr bwMode="auto">
          <a:xfrm>
            <a:off x="10013542" y="5859007"/>
            <a:ext cx="1947103" cy="73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82996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36EB9D-DEC8-4B48-3EE3-F28F7C7F56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8F0D457-B8FC-413C-9D30-97ED72E92701}" type="slidenum">
              <a:rPr lang="en-ZA" smtClean="0"/>
              <a:pPr/>
              <a:t>6</a:t>
            </a:fld>
            <a:endParaRPr lang="en-ZA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B8F7CE4B-FD6A-2D30-A1C3-A9BC95FA2FB2}"/>
              </a:ext>
            </a:extLst>
          </p:cNvPr>
          <p:cNvGraphicFramePr>
            <a:graphicFrameLocks noGrp="1"/>
          </p:cNvGraphicFramePr>
          <p:nvPr/>
        </p:nvGraphicFramePr>
        <p:xfrm>
          <a:off x="457200" y="1588230"/>
          <a:ext cx="8458200" cy="4796522"/>
        </p:xfrm>
        <a:graphic>
          <a:graphicData uri="http://schemas.openxmlformats.org/drawingml/2006/table">
            <a:tbl>
              <a:tblPr firstRow="1" bandRow="1"/>
              <a:tblGrid>
                <a:gridCol w="2819400">
                  <a:extLst>
                    <a:ext uri="{9D8B030D-6E8A-4147-A177-3AD203B41FA5}">
                      <a16:colId xmlns:a16="http://schemas.microsoft.com/office/drawing/2014/main" val="985687378"/>
                    </a:ext>
                  </a:extLst>
                </a:gridCol>
                <a:gridCol w="2819400">
                  <a:extLst>
                    <a:ext uri="{9D8B030D-6E8A-4147-A177-3AD203B41FA5}">
                      <a16:colId xmlns:a16="http://schemas.microsoft.com/office/drawing/2014/main" val="112484693"/>
                    </a:ext>
                  </a:extLst>
                </a:gridCol>
                <a:gridCol w="2819400">
                  <a:extLst>
                    <a:ext uri="{9D8B030D-6E8A-4147-A177-3AD203B41FA5}">
                      <a16:colId xmlns:a16="http://schemas.microsoft.com/office/drawing/2014/main" val="2005057992"/>
                    </a:ext>
                  </a:extLst>
                </a:gridCol>
              </a:tblGrid>
              <a:tr h="1215122">
                <a:tc>
                  <a:txBody>
                    <a:bodyPr/>
                    <a:lstStyle/>
                    <a:p>
                      <a:r>
                        <a:rPr lang="en-US" sz="4000" b="1" dirty="0">
                          <a:solidFill>
                            <a:schemeClr val="accent1"/>
                          </a:solidFill>
                          <a:latin typeface="+mj-lt"/>
                        </a:rPr>
                        <a:t>1 </a:t>
                      </a:r>
                    </a:p>
                  </a:txBody>
                  <a:tcPr anchor="b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370" rtl="0" eaLnBrk="1" latinLnBrk="0" hangingPunct="1"/>
                      <a:r>
                        <a:rPr lang="en-US" sz="4000" b="1" kern="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algn="l" defTabSz="914370" rtl="0" eaLnBrk="1" latinLnBrk="0" hangingPunct="1"/>
                      <a:r>
                        <a:rPr lang="en-US" sz="4000" b="1" kern="0" dirty="0">
                          <a:solidFill>
                            <a:schemeClr val="accent1"/>
                          </a:solidFill>
                          <a:latin typeface="+mj-lt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32536295"/>
                  </a:ext>
                </a:extLst>
              </a:tr>
              <a:tr h="3415286"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tx2"/>
                          </a:solidFill>
                        </a:rPr>
                        <a:t>Africa has a large stock of natural capital</a:t>
                      </a:r>
                      <a:endParaRPr lang="en-US" sz="1400" dirty="0"/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Africa has </a:t>
                      </a:r>
                      <a:r>
                        <a:rPr lang="en-US" sz="1400" b="1" kern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30%</a:t>
                      </a:r>
                      <a:r>
                        <a:rPr lang="en-US" sz="1400" dirty="0"/>
                        <a:t> of the world’s minerals, offering large natural capital opportunities (UNEP)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Africa contains </a:t>
                      </a:r>
                      <a:r>
                        <a:rPr lang="en-US" sz="1400" b="1" kern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65%</a:t>
                      </a:r>
                      <a:r>
                        <a:rPr lang="en-US" sz="1400" dirty="0"/>
                        <a:t> of the worlds’ arable land (UNEP)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Africa’s living organisms comprise </a:t>
                      </a:r>
                      <a:r>
                        <a:rPr lang="en-US" sz="1400" b="1" kern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25% </a:t>
                      </a:r>
                      <a:r>
                        <a:rPr lang="en-US" sz="1400" dirty="0"/>
                        <a:t>of global biodiversity and is home to the world’s second largest rain forest 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400" dirty="0"/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US" sz="1400" dirty="0"/>
                    </a:p>
                  </a:txBody>
                  <a:tcPr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tx2"/>
                          </a:solidFill>
                        </a:rPr>
                        <a:t>Africa is highly dependent on nature</a:t>
                      </a:r>
                      <a:endParaRPr lang="en-GB" sz="1800" dirty="0"/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400" b="1" kern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62%</a:t>
                      </a:r>
                      <a:r>
                        <a:rPr lang="en-GB" sz="1400" dirty="0"/>
                        <a:t> of Africa’s GDP is dependent on nature (WEF, 2020)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Over </a:t>
                      </a:r>
                      <a:r>
                        <a:rPr lang="en-US" sz="1400" b="1" kern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70%</a:t>
                      </a:r>
                      <a:r>
                        <a:rPr lang="en-US" sz="1400" dirty="0"/>
                        <a:t> of people living in sub-Saharan Africa depend on forests and woodlands for their livelihoods (UNEP)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In most African countries, natural capital accounts for between </a:t>
                      </a:r>
                      <a:r>
                        <a:rPr lang="en-US" sz="1400" b="1" kern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30-50%</a:t>
                      </a:r>
                      <a:r>
                        <a:rPr lang="en-US" sz="1400" dirty="0"/>
                        <a:t> of total wealth (UNEP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GB" sz="1800" b="1" dirty="0">
                          <a:solidFill>
                            <a:schemeClr val="tx2"/>
                          </a:solidFill>
                        </a:rPr>
                        <a:t>Nature is being depleted rapidly across the continent</a:t>
                      </a:r>
                      <a:endParaRPr lang="en-US" sz="1400" dirty="0"/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400" dirty="0"/>
                        <a:t>Each year, Africa loses an estimated </a:t>
                      </a:r>
                      <a:r>
                        <a:rPr lang="en-US" sz="1400" b="1" kern="0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$195bn </a:t>
                      </a:r>
                      <a:r>
                        <a:rPr lang="en-US" sz="1400" dirty="0"/>
                        <a:t>of its natural capital (UNEP)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GB" sz="1400" dirty="0"/>
                        <a:t>Between 2001 and 2020, several African countries lost up to </a:t>
                      </a:r>
                      <a:r>
                        <a:rPr lang="en-GB" sz="1400" b="1" dirty="0">
                          <a:solidFill>
                            <a:schemeClr val="accent1"/>
                          </a:solidFill>
                        </a:rPr>
                        <a:t>30%</a:t>
                      </a:r>
                      <a:r>
                        <a:rPr lang="en-GB" sz="1400" dirty="0"/>
                        <a:t> of their tree cover, compared to 11 percent globally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</a:lnT>
                    <a:lnB w="9525" cap="flat" cmpd="sng" algn="ctr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14442516"/>
                  </a:ext>
                </a:extLst>
              </a:tr>
            </a:tbl>
          </a:graphicData>
        </a:graphic>
      </p:graphicFrame>
      <p:pic>
        <p:nvPicPr>
          <p:cNvPr id="9" name="Graphic 7" descr="Africa with solid fill">
            <a:extLst>
              <a:ext uri="{FF2B5EF4-FFF2-40B4-BE49-F238E27FC236}">
                <a16:creationId xmlns:a16="http://schemas.microsoft.com/office/drawing/2014/main" id="{CD2A2AAA-5CCB-14CC-2FB3-742C3633DE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409700" y="1793228"/>
            <a:ext cx="914400" cy="914400"/>
          </a:xfrm>
          <a:prstGeom prst="rect">
            <a:avLst/>
          </a:prstGeom>
        </p:spPr>
      </p:pic>
      <p:pic>
        <p:nvPicPr>
          <p:cNvPr id="10" name="ico-leaf-38">
            <a:extLst>
              <a:ext uri="{FF2B5EF4-FFF2-40B4-BE49-F238E27FC236}">
                <a16:creationId xmlns:a16="http://schemas.microsoft.com/office/drawing/2014/main" id="{9C2E2656-C27C-7CBD-30C1-41CC29F6CE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43400" y="1907528"/>
            <a:ext cx="685800" cy="685800"/>
          </a:xfrm>
          <a:prstGeom prst="rect">
            <a:avLst/>
          </a:prstGeom>
        </p:spPr>
      </p:pic>
      <p:pic>
        <p:nvPicPr>
          <p:cNvPr id="11" name="ico-elephant">
            <a:extLst>
              <a:ext uri="{FF2B5EF4-FFF2-40B4-BE49-F238E27FC236}">
                <a16:creationId xmlns:a16="http://schemas.microsoft.com/office/drawing/2014/main" id="{9A21DAEB-40F3-4B47-1B22-31530EF329D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62800" y="1907528"/>
            <a:ext cx="685800" cy="685800"/>
          </a:xfrm>
          <a:prstGeom prst="rect">
            <a:avLst/>
          </a:prstGeom>
        </p:spPr>
      </p:pic>
      <p:pic>
        <p:nvPicPr>
          <p:cNvPr id="12" name="Picture 11" descr="A hand holding a small plant&#10;&#10;Description automatically generated with low confidence">
            <a:extLst>
              <a:ext uri="{FF2B5EF4-FFF2-40B4-BE49-F238E27FC236}">
                <a16:creationId xmlns:a16="http://schemas.microsoft.com/office/drawing/2014/main" id="{F4220B05-FD52-9FD0-CBD2-CB25346DFEBA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37542" r="40752"/>
          <a:stretch/>
        </p:blipFill>
        <p:spPr>
          <a:xfrm>
            <a:off x="9405257" y="1498546"/>
            <a:ext cx="2155114" cy="4567551"/>
          </a:xfrm>
          <a:prstGeom prst="rect">
            <a:avLst/>
          </a:prstGeom>
        </p:spPr>
      </p:pic>
      <p:sp>
        <p:nvSpPr>
          <p:cNvPr id="13" name="Footnote">
            <a:extLst>
              <a:ext uri="{FF2B5EF4-FFF2-40B4-BE49-F238E27FC236}">
                <a16:creationId xmlns:a16="http://schemas.microsoft.com/office/drawing/2014/main" id="{CA957254-74B9-E7D9-4CF4-8736B54DBCD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5992" y="6475260"/>
            <a:ext cx="9252913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ource: ‘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Our work in Africa’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ited Nations Environment Programme; ‘</a:t>
            </a:r>
            <a:r>
              <a:rPr kumimoji="0" lang="en-US" sz="8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s Africa’s Natural Capital the Gateway to Finance Its Development?’</a:t>
            </a: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GB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United Nations Environment Programme; ‘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 Nature Economy Report II The Future Of Nature And Business’,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World Economic Forum; ‘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eeting the SDGs: Benefits of investing in natural capital far outweigh costs’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Green Growth Knowledge Platform; African Assessment</a:t>
            </a:r>
          </a:p>
        </p:txBody>
      </p:sp>
      <p:cxnSp>
        <p:nvCxnSpPr>
          <p:cNvPr id="14" name="TopLineRight">
            <a:extLst>
              <a:ext uri="{FF2B5EF4-FFF2-40B4-BE49-F238E27FC236}">
                <a16:creationId xmlns:a16="http://schemas.microsoft.com/office/drawing/2014/main" id="{FA9F9769-6201-CE77-36A9-E2253E14DEA5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>
          <a:xfrm>
            <a:off x="359920" y="1538343"/>
            <a:ext cx="11181747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itle 23">
            <a:extLst>
              <a:ext uri="{FF2B5EF4-FFF2-40B4-BE49-F238E27FC236}">
                <a16:creationId xmlns:a16="http://schemas.microsoft.com/office/drawing/2014/main" id="{86FF5A5A-FDB2-7C8E-4E65-7397F69F61C7}"/>
              </a:ext>
            </a:extLst>
          </p:cNvPr>
          <p:cNvSpPr txBox="1">
            <a:spLocks/>
          </p:cNvSpPr>
          <p:nvPr/>
        </p:nvSpPr>
        <p:spPr>
          <a:xfrm>
            <a:off x="457200" y="384048"/>
            <a:ext cx="8864600" cy="75895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37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0" cap="none" baseline="0">
                <a:solidFill>
                  <a:schemeClr val="tx2"/>
                </a:solidFill>
                <a:latin typeface="Museo Sans 500" panose="02000000000000000000" pitchFamily="2" charset="77"/>
                <a:ea typeface="+mj-ea"/>
                <a:cs typeface="+mj-cs"/>
              </a:defRPr>
            </a:lvl1pPr>
          </a:lstStyle>
          <a:p>
            <a:pPr marL="0" marR="0" lvl="0" indent="0" algn="l" defTabSz="91437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387167"/>
                </a:solidFill>
                <a:effectLst/>
                <a:uLnTx/>
                <a:uFillTx/>
                <a:latin typeface="Museo Sans 500" panose="02000000000000000000" pitchFamily="2" charset="77"/>
                <a:ea typeface="+mj-ea"/>
                <a:cs typeface="+mj-cs"/>
              </a:rPr>
              <a:t>The African Context</a:t>
            </a:r>
            <a:br>
              <a:rPr kumimoji="0" lang="en-GB" sz="2400" b="0" i="0" u="none" strike="noStrike" kern="0" cap="none" spc="0" normalizeH="0" baseline="0" noProof="0" dirty="0">
                <a:ln>
                  <a:noFill/>
                </a:ln>
                <a:solidFill>
                  <a:srgbClr val="387167"/>
                </a:solidFill>
                <a:effectLst/>
                <a:uLnTx/>
                <a:uFillTx/>
                <a:latin typeface="Museo Sans 500" panose="02000000000000000000" pitchFamily="2" charset="77"/>
                <a:ea typeface="+mj-ea"/>
                <a:cs typeface="+mj-cs"/>
              </a:rPr>
            </a:br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j-ea"/>
              <a:cs typeface="+mj-cs"/>
            </a:endParaRPr>
          </a:p>
        </p:txBody>
      </p:sp>
      <p:pic>
        <p:nvPicPr>
          <p:cNvPr id="16" name="Picture 2" descr="African Insurance Organisation - Five-year strategic plan ...">
            <a:extLst>
              <a:ext uri="{FF2B5EF4-FFF2-40B4-BE49-F238E27FC236}">
                <a16:creationId xmlns:a16="http://schemas.microsoft.com/office/drawing/2014/main" id="{80C18234-8807-92CE-A1C1-DE97F6FE751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95" t="28182" r="12011" b="29848"/>
          <a:stretch/>
        </p:blipFill>
        <p:spPr bwMode="auto">
          <a:xfrm>
            <a:off x="10156103" y="6066097"/>
            <a:ext cx="1947103" cy="738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492236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A5CE05-DB5C-8941-A61B-A492B68276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9838" y="682983"/>
            <a:ext cx="11090275" cy="813353"/>
          </a:xfrm>
        </p:spPr>
        <p:txBody>
          <a:bodyPr/>
          <a:lstStyle/>
          <a:p>
            <a:r>
              <a:rPr lang="en-US" sz="2800" b="1" dirty="0">
                <a:solidFill>
                  <a:srgbClr val="38706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w climate change threatens the financial sector</a:t>
            </a:r>
            <a:br>
              <a:rPr lang="en-US" b="1" dirty="0">
                <a:solidFill>
                  <a:srgbClr val="387067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GB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FFFE59-9E5B-DC41-8A5F-56668A47B4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SD Afric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0EEF0D-8FF5-AA45-95EA-4C8FEE1DBA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AD0B6-45E5-3A43-8421-56464370CF0C}" type="slidenum">
              <a:rPr lang="en-US" smtClean="0"/>
              <a:pPr/>
              <a:t>7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C0D1C16-49BD-8A49-A34B-94D370C641FB}"/>
              </a:ext>
            </a:extLst>
          </p:cNvPr>
          <p:cNvCxnSpPr>
            <a:cxnSpLocks/>
          </p:cNvCxnSpPr>
          <p:nvPr/>
        </p:nvCxnSpPr>
        <p:spPr>
          <a:xfrm flipV="1">
            <a:off x="549838" y="1361459"/>
            <a:ext cx="11090275" cy="1"/>
          </a:xfrm>
          <a:prstGeom prst="line">
            <a:avLst/>
          </a:prstGeom>
          <a:ln w="28575">
            <a:solidFill>
              <a:srgbClr val="3870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>
            <a:extLst>
              <a:ext uri="{FF2B5EF4-FFF2-40B4-BE49-F238E27FC236}">
                <a16:creationId xmlns:a16="http://schemas.microsoft.com/office/drawing/2014/main" id="{1EEB2304-8083-5742-ACC2-2595B7D745EF}"/>
              </a:ext>
            </a:extLst>
          </p:cNvPr>
          <p:cNvSpPr/>
          <p:nvPr/>
        </p:nvSpPr>
        <p:spPr>
          <a:xfrm>
            <a:off x="1199143" y="2424134"/>
            <a:ext cx="1890887" cy="943899"/>
          </a:xfrm>
          <a:prstGeom prst="rect">
            <a:avLst/>
          </a:prstGeom>
          <a:solidFill>
            <a:srgbClr val="3870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hysical ris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xtreme weather eve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radual changes in clim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69733F0-1A40-AF41-B26A-CAD674FD921F}"/>
              </a:ext>
            </a:extLst>
          </p:cNvPr>
          <p:cNvSpPr txBox="1"/>
          <p:nvPr/>
        </p:nvSpPr>
        <p:spPr>
          <a:xfrm>
            <a:off x="549838" y="3444398"/>
            <a:ext cx="400110" cy="1074461"/>
          </a:xfrm>
          <a:prstGeom prst="rect">
            <a:avLst/>
          </a:prstGeom>
          <a:noFill/>
        </p:spPr>
        <p:txBody>
          <a:bodyPr vert="vert270" wrap="none" rtlCol="0">
            <a:spAutoFit/>
          </a:bodyPr>
          <a:lstStyle/>
          <a:p>
            <a:r>
              <a:rPr lang="en-GB" sz="1400" b="1">
                <a:latin typeface="Calibri "/>
              </a:rPr>
              <a:t>Climate Risks</a:t>
            </a:r>
            <a:endParaRPr lang="en-KE" sz="1400" b="1">
              <a:latin typeface="Calibri 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2A6089-C672-E242-8E68-213820C72B08}"/>
              </a:ext>
            </a:extLst>
          </p:cNvPr>
          <p:cNvSpPr/>
          <p:nvPr/>
        </p:nvSpPr>
        <p:spPr>
          <a:xfrm>
            <a:off x="1207882" y="3482738"/>
            <a:ext cx="1890887" cy="99157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200" b="1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GB" sz="1200" b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ransition risk driv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limate polic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echnolog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umer preferenc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abil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3BD12BA-46B4-3746-91A6-46BEAA137E3A}"/>
              </a:ext>
            </a:extLst>
          </p:cNvPr>
          <p:cNvSpPr/>
          <p:nvPr/>
        </p:nvSpPr>
        <p:spPr>
          <a:xfrm>
            <a:off x="1207882" y="4572393"/>
            <a:ext cx="1890887" cy="106269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GB" sz="1200" b="1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n-GB" sz="1200" b="1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ability ris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isk of people seeking compensation from physical and transition risk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20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7F0F289-5872-B14F-9B93-84903962C231}"/>
              </a:ext>
            </a:extLst>
          </p:cNvPr>
          <p:cNvSpPr/>
          <p:nvPr/>
        </p:nvSpPr>
        <p:spPr>
          <a:xfrm>
            <a:off x="3635276" y="2445345"/>
            <a:ext cx="2531327" cy="3189744"/>
          </a:xfrm>
          <a:prstGeom prst="rect">
            <a:avLst/>
          </a:prstGeom>
          <a:noFill/>
          <a:ln>
            <a:solidFill>
              <a:srgbClr val="3870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BD97E07-0BFC-5841-AA15-A36E1C608F16}"/>
              </a:ext>
            </a:extLst>
          </p:cNvPr>
          <p:cNvSpPr txBox="1"/>
          <p:nvPr/>
        </p:nvSpPr>
        <p:spPr>
          <a:xfrm>
            <a:off x="4362147" y="2504062"/>
            <a:ext cx="75546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>
                <a:solidFill>
                  <a:srgbClr val="387067"/>
                </a:solidFill>
                <a:latin typeface="Calibri "/>
              </a:rPr>
              <a:t>Economy</a:t>
            </a:r>
            <a:endParaRPr lang="en-KE" sz="1200">
              <a:solidFill>
                <a:srgbClr val="387067"/>
              </a:solidFill>
              <a:latin typeface="Calibri 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9D1A6D6-95A6-974C-9E03-A57555894ED9}"/>
              </a:ext>
            </a:extLst>
          </p:cNvPr>
          <p:cNvSpPr/>
          <p:nvPr/>
        </p:nvSpPr>
        <p:spPr>
          <a:xfrm>
            <a:off x="3747139" y="2811028"/>
            <a:ext cx="2299804" cy="307777"/>
          </a:xfrm>
          <a:prstGeom prst="rect">
            <a:avLst/>
          </a:prstGeom>
          <a:solidFill>
            <a:srgbClr val="3870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usiness disruption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58A808E-9CDC-644A-B592-3D5EED9B41DD}"/>
              </a:ext>
            </a:extLst>
          </p:cNvPr>
          <p:cNvSpPr/>
          <p:nvPr/>
        </p:nvSpPr>
        <p:spPr>
          <a:xfrm>
            <a:off x="3754039" y="3185748"/>
            <a:ext cx="2299804" cy="255332"/>
          </a:xfrm>
          <a:prstGeom prst="rect">
            <a:avLst/>
          </a:prstGeom>
          <a:solidFill>
            <a:srgbClr val="3870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apital scrapping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6EF8FB64-54C1-AD4A-91D6-BDAD311CC0A1}"/>
              </a:ext>
            </a:extLst>
          </p:cNvPr>
          <p:cNvSpPr/>
          <p:nvPr/>
        </p:nvSpPr>
        <p:spPr>
          <a:xfrm>
            <a:off x="3747139" y="3515166"/>
            <a:ext cx="2299804" cy="307777"/>
          </a:xfrm>
          <a:prstGeom prst="rect">
            <a:avLst/>
          </a:prstGeom>
          <a:solidFill>
            <a:srgbClr val="3870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gr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117BDBE-8B1C-564A-9AB2-32D50EF15351}"/>
              </a:ext>
            </a:extLst>
          </p:cNvPr>
          <p:cNvSpPr/>
          <p:nvPr/>
        </p:nvSpPr>
        <p:spPr>
          <a:xfrm>
            <a:off x="3754039" y="3916588"/>
            <a:ext cx="2299804" cy="426536"/>
          </a:xfrm>
          <a:prstGeom prst="rect">
            <a:avLst/>
          </a:prstGeom>
          <a:gradFill flip="none" rotWithShape="1">
            <a:gsLst>
              <a:gs pos="0">
                <a:srgbClr val="387067"/>
              </a:gs>
              <a:gs pos="100000">
                <a:srgbClr val="25A6E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construction, reinvestment and replacement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13C67BDC-1608-1B42-AB15-C0AC5D6CA442}"/>
              </a:ext>
            </a:extLst>
          </p:cNvPr>
          <p:cNvSpPr/>
          <p:nvPr/>
        </p:nvSpPr>
        <p:spPr>
          <a:xfrm>
            <a:off x="3754039" y="4432662"/>
            <a:ext cx="2299804" cy="426536"/>
          </a:xfrm>
          <a:prstGeom prst="rect">
            <a:avLst/>
          </a:prstGeom>
          <a:gradFill>
            <a:gsLst>
              <a:gs pos="0">
                <a:srgbClr val="387067"/>
              </a:gs>
              <a:gs pos="100000">
                <a:srgbClr val="25A6E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crease in commodity and energy pric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0C7534A-2129-9046-814B-B36654B4874E}"/>
              </a:ext>
            </a:extLst>
          </p:cNvPr>
          <p:cNvSpPr/>
          <p:nvPr/>
        </p:nvSpPr>
        <p:spPr>
          <a:xfrm>
            <a:off x="3754039" y="4962755"/>
            <a:ext cx="2299804" cy="595852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tandard assets (fossil fuels, infrastructure, real estate, vehicles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CC040F1-CF95-3947-99FD-C9F813272C8D}"/>
              </a:ext>
            </a:extLst>
          </p:cNvPr>
          <p:cNvSpPr/>
          <p:nvPr/>
        </p:nvSpPr>
        <p:spPr>
          <a:xfrm>
            <a:off x="9137178" y="2382470"/>
            <a:ext cx="1739592" cy="3189745"/>
          </a:xfrm>
          <a:prstGeom prst="rect">
            <a:avLst/>
          </a:prstGeom>
          <a:noFill/>
          <a:ln>
            <a:solidFill>
              <a:srgbClr val="38706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118C94C6-E096-5C44-83E6-C6A3E2A358F6}"/>
              </a:ext>
            </a:extLst>
          </p:cNvPr>
          <p:cNvSpPr txBox="1"/>
          <p:nvPr/>
        </p:nvSpPr>
        <p:spPr>
          <a:xfrm>
            <a:off x="9288607" y="2445344"/>
            <a:ext cx="12046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>
                <a:solidFill>
                  <a:srgbClr val="387067"/>
                </a:solidFill>
                <a:latin typeface="Calibri "/>
              </a:rPr>
              <a:t>Financial system</a:t>
            </a:r>
            <a:endParaRPr lang="en-KE" sz="1200">
              <a:solidFill>
                <a:srgbClr val="387067"/>
              </a:solidFill>
              <a:latin typeface="Calibri 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16396A0-1156-6340-90CC-315A0D898938}"/>
              </a:ext>
            </a:extLst>
          </p:cNvPr>
          <p:cNvSpPr/>
          <p:nvPr/>
        </p:nvSpPr>
        <p:spPr>
          <a:xfrm>
            <a:off x="9241476" y="2757447"/>
            <a:ext cx="1461606" cy="307777"/>
          </a:xfrm>
          <a:prstGeom prst="rect">
            <a:avLst/>
          </a:prstGeom>
          <a:solidFill>
            <a:srgbClr val="3870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derwriting losse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0E35A88-54FB-7A4F-8CEA-50C1B435AF15}"/>
              </a:ext>
            </a:extLst>
          </p:cNvPr>
          <p:cNvSpPr/>
          <p:nvPr/>
        </p:nvSpPr>
        <p:spPr>
          <a:xfrm>
            <a:off x="9248376" y="3132166"/>
            <a:ext cx="1461606" cy="682372"/>
          </a:xfrm>
          <a:prstGeom prst="rect">
            <a:avLst/>
          </a:prstGeom>
          <a:solidFill>
            <a:srgbClr val="3870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perational risks (including liability risks)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C84D728-231B-8E48-B992-DF0962D53A36}"/>
              </a:ext>
            </a:extLst>
          </p:cNvPr>
          <p:cNvSpPr/>
          <p:nvPr/>
        </p:nvSpPr>
        <p:spPr>
          <a:xfrm>
            <a:off x="9248376" y="3937198"/>
            <a:ext cx="1461606" cy="722910"/>
          </a:xfrm>
          <a:prstGeom prst="rect">
            <a:avLst/>
          </a:prstGeom>
          <a:gradFill flip="none" rotWithShape="1">
            <a:gsLst>
              <a:gs pos="0">
                <a:srgbClr val="387067"/>
              </a:gs>
              <a:gs pos="100000">
                <a:srgbClr val="25A6EC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inancial market losses (equity, bonds and commodities)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5EAE7FCA-5D7C-7F40-AFB7-5792E582B68B}"/>
              </a:ext>
            </a:extLst>
          </p:cNvPr>
          <p:cNvSpPr/>
          <p:nvPr/>
        </p:nvSpPr>
        <p:spPr>
          <a:xfrm>
            <a:off x="9241476" y="4782115"/>
            <a:ext cx="1461606" cy="722911"/>
          </a:xfrm>
          <a:prstGeom prst="rect">
            <a:avLst/>
          </a:prstGeom>
          <a:gradFill>
            <a:gsLst>
              <a:gs pos="0">
                <a:srgbClr val="387067"/>
              </a:gs>
              <a:gs pos="100000">
                <a:srgbClr val="25A6EC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redit markets losses (residential and corporate loans)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ECC26A0-2220-EA4A-B917-C82D65556F09}"/>
              </a:ext>
            </a:extLst>
          </p:cNvPr>
          <p:cNvSpPr txBox="1"/>
          <p:nvPr/>
        </p:nvSpPr>
        <p:spPr>
          <a:xfrm>
            <a:off x="6624240" y="2610511"/>
            <a:ext cx="197643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dirty="0">
                <a:latin typeface="Calibri "/>
              </a:rPr>
              <a:t>Direct transmission channels</a:t>
            </a:r>
            <a:endParaRPr lang="en-KE" sz="1200" dirty="0">
              <a:latin typeface="Calibri 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1D446E2-3A3B-0A45-A23F-74F6A910F6F3}"/>
              </a:ext>
            </a:extLst>
          </p:cNvPr>
          <p:cNvSpPr/>
          <p:nvPr/>
        </p:nvSpPr>
        <p:spPr>
          <a:xfrm>
            <a:off x="6703109" y="3049869"/>
            <a:ext cx="1897569" cy="388628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ower commercial property valu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6368CC01-0B02-5641-BC8E-77C3C35D68DF}"/>
              </a:ext>
            </a:extLst>
          </p:cNvPr>
          <p:cNvSpPr/>
          <p:nvPr/>
        </p:nvSpPr>
        <p:spPr>
          <a:xfrm>
            <a:off x="6703108" y="3586285"/>
            <a:ext cx="1897569" cy="402355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ower residential property value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9695B63-7D9F-BB4F-A5ED-62B93C0F4137}"/>
              </a:ext>
            </a:extLst>
          </p:cNvPr>
          <p:cNvSpPr/>
          <p:nvPr/>
        </p:nvSpPr>
        <p:spPr>
          <a:xfrm>
            <a:off x="6703107" y="4122701"/>
            <a:ext cx="1897569" cy="663040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ower corporate profitability and increased litigation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91CB5B6B-806F-3540-B338-465E3241E6E8}"/>
              </a:ext>
            </a:extLst>
          </p:cNvPr>
          <p:cNvSpPr/>
          <p:nvPr/>
        </p:nvSpPr>
        <p:spPr>
          <a:xfrm>
            <a:off x="6703106" y="4895381"/>
            <a:ext cx="1897569" cy="458742"/>
          </a:xfrm>
          <a:prstGeom prst="rect">
            <a:avLst/>
          </a:prstGeom>
          <a:solidFill>
            <a:schemeClr val="tx1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rporate assets devaluatio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8D3D902-1995-3343-8B5C-2C282AF77004}"/>
              </a:ext>
            </a:extLst>
          </p:cNvPr>
          <p:cNvSpPr/>
          <p:nvPr/>
        </p:nvSpPr>
        <p:spPr>
          <a:xfrm>
            <a:off x="442117" y="1371351"/>
            <a:ext cx="1119799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‘</a:t>
            </a:r>
            <a:r>
              <a:rPr lang="en-GB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limate change is a source of structural change in the economy and financial system and therefore falls within the mandate of central banks and supervisors’ – Network for Greening the Financial System</a:t>
            </a:r>
          </a:p>
        </p:txBody>
      </p: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267DFA4A-5977-5A42-AECB-001D3A7C8ECD}"/>
              </a:ext>
            </a:extLst>
          </p:cNvPr>
          <p:cNvCxnSpPr/>
          <p:nvPr/>
        </p:nvCxnSpPr>
        <p:spPr>
          <a:xfrm>
            <a:off x="3193580" y="2950384"/>
            <a:ext cx="3568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8DD78AFA-500F-8E4C-86E4-1453E97167DD}"/>
              </a:ext>
            </a:extLst>
          </p:cNvPr>
          <p:cNvCxnSpPr/>
          <p:nvPr/>
        </p:nvCxnSpPr>
        <p:spPr>
          <a:xfrm>
            <a:off x="3193580" y="4092589"/>
            <a:ext cx="3568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9BC6AF67-33F4-B24D-94BD-CB72B9EF5464}"/>
              </a:ext>
            </a:extLst>
          </p:cNvPr>
          <p:cNvCxnSpPr/>
          <p:nvPr/>
        </p:nvCxnSpPr>
        <p:spPr>
          <a:xfrm>
            <a:off x="6166603" y="4048566"/>
            <a:ext cx="3568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2FF45179-69E3-EE47-B981-F110B7427F59}"/>
              </a:ext>
            </a:extLst>
          </p:cNvPr>
          <p:cNvCxnSpPr/>
          <p:nvPr/>
        </p:nvCxnSpPr>
        <p:spPr>
          <a:xfrm>
            <a:off x="8780339" y="4085211"/>
            <a:ext cx="356839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41">
            <a:extLst>
              <a:ext uri="{FF2B5EF4-FFF2-40B4-BE49-F238E27FC236}">
                <a16:creationId xmlns:a16="http://schemas.microsoft.com/office/drawing/2014/main" id="{0E87206A-66BF-124C-896B-3EDFA80919EC}"/>
              </a:ext>
            </a:extLst>
          </p:cNvPr>
          <p:cNvCxnSpPr>
            <a:cxnSpLocks/>
            <a:stCxn id="7" idx="0"/>
            <a:endCxn id="20" idx="0"/>
          </p:cNvCxnSpPr>
          <p:nvPr/>
        </p:nvCxnSpPr>
        <p:spPr>
          <a:xfrm rot="5400000" flipH="1" flipV="1">
            <a:off x="7422520" y="-139109"/>
            <a:ext cx="62875" cy="5106034"/>
          </a:xfrm>
          <a:prstGeom prst="bentConnector3">
            <a:avLst>
              <a:gd name="adj1" fmla="val 268483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xtBox 44">
            <a:extLst>
              <a:ext uri="{FF2B5EF4-FFF2-40B4-BE49-F238E27FC236}">
                <a16:creationId xmlns:a16="http://schemas.microsoft.com/office/drawing/2014/main" id="{AE420F4C-B42C-FF4B-B0AE-4CCBA627FBF0}"/>
              </a:ext>
            </a:extLst>
          </p:cNvPr>
          <p:cNvSpPr txBox="1"/>
          <p:nvPr/>
        </p:nvSpPr>
        <p:spPr>
          <a:xfrm>
            <a:off x="4846227" y="1983281"/>
            <a:ext cx="642272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latin typeface="Calibri "/>
              </a:rPr>
              <a:t>Financial contagion (market losses, credit tightening) feeding back to the economy </a:t>
            </a:r>
            <a:endParaRPr lang="en-KE" sz="1200" dirty="0">
              <a:latin typeface="Calibri "/>
            </a:endParaRPr>
          </a:p>
        </p:txBody>
      </p:sp>
      <p:cxnSp>
        <p:nvCxnSpPr>
          <p:cNvPr id="48" name="Elbow Connector 47">
            <a:extLst>
              <a:ext uri="{FF2B5EF4-FFF2-40B4-BE49-F238E27FC236}">
                <a16:creationId xmlns:a16="http://schemas.microsoft.com/office/drawing/2014/main" id="{4A12BCF0-58C0-8744-B555-BFA386B9B5A4}"/>
              </a:ext>
            </a:extLst>
          </p:cNvPr>
          <p:cNvCxnSpPr>
            <a:cxnSpLocks/>
            <a:stCxn id="7" idx="2"/>
            <a:endCxn id="20" idx="2"/>
          </p:cNvCxnSpPr>
          <p:nvPr/>
        </p:nvCxnSpPr>
        <p:spPr>
          <a:xfrm rot="5400000" flipH="1" flipV="1">
            <a:off x="7422520" y="3050635"/>
            <a:ext cx="62874" cy="5106034"/>
          </a:xfrm>
          <a:prstGeom prst="bentConnector3">
            <a:avLst>
              <a:gd name="adj1" fmla="val -221697"/>
            </a:avLst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Box 49">
            <a:extLst>
              <a:ext uri="{FF2B5EF4-FFF2-40B4-BE49-F238E27FC236}">
                <a16:creationId xmlns:a16="http://schemas.microsoft.com/office/drawing/2014/main" id="{E4622138-38DB-A246-859C-045507B44884}"/>
              </a:ext>
            </a:extLst>
          </p:cNvPr>
          <p:cNvSpPr txBox="1"/>
          <p:nvPr/>
        </p:nvSpPr>
        <p:spPr>
          <a:xfrm>
            <a:off x="6523442" y="5787745"/>
            <a:ext cx="240261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latin typeface="Calibri "/>
              </a:rPr>
              <a:t>Indirect transmission channels</a:t>
            </a:r>
            <a:endParaRPr lang="en-KE" sz="1200">
              <a:latin typeface="Calibri 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4CC8C67-5D34-2B4A-8D4D-1F6BF6118A69}"/>
              </a:ext>
            </a:extLst>
          </p:cNvPr>
          <p:cNvSpPr txBox="1"/>
          <p:nvPr/>
        </p:nvSpPr>
        <p:spPr>
          <a:xfrm>
            <a:off x="4739878" y="5996511"/>
            <a:ext cx="55495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dirty="0">
                <a:latin typeface="Calibri "/>
              </a:rPr>
              <a:t>Economic deterioration (lower demand and output) impacting financial conditions</a:t>
            </a:r>
            <a:endParaRPr lang="en-KE" sz="1100" dirty="0">
              <a:latin typeface="Calibri 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D9D2DC35-7AFD-4CD5-921D-4933E4DFB1F8}"/>
              </a:ext>
            </a:extLst>
          </p:cNvPr>
          <p:cNvSpPr txBox="1"/>
          <p:nvPr/>
        </p:nvSpPr>
        <p:spPr>
          <a:xfrm>
            <a:off x="749893" y="6455726"/>
            <a:ext cx="76928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ource: GCF October 2020, Bank of England</a:t>
            </a:r>
          </a:p>
        </p:txBody>
      </p:sp>
      <p:pic>
        <p:nvPicPr>
          <p:cNvPr id="27" name="Picture 2" descr="African Insurance Organisation - Five-year strategic plan ...">
            <a:extLst>
              <a:ext uri="{FF2B5EF4-FFF2-40B4-BE49-F238E27FC236}">
                <a16:creationId xmlns:a16="http://schemas.microsoft.com/office/drawing/2014/main" id="{82575185-B3E8-74D5-6C37-DC507205E31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95" t="28182" r="12011" b="29848"/>
          <a:stretch/>
        </p:blipFill>
        <p:spPr bwMode="auto">
          <a:xfrm>
            <a:off x="9893344" y="5926244"/>
            <a:ext cx="1826879" cy="659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977292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Content Placeholder 6">
            <a:extLst>
              <a:ext uri="{FF2B5EF4-FFF2-40B4-BE49-F238E27FC236}">
                <a16:creationId xmlns:a16="http://schemas.microsoft.com/office/drawing/2014/main" id="{10A9E568-06B4-426C-A4DE-ED4FAD48E2D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8488674"/>
              </p:ext>
            </p:extLst>
          </p:nvPr>
        </p:nvGraphicFramePr>
        <p:xfrm>
          <a:off x="466277" y="1260803"/>
          <a:ext cx="11259446" cy="50568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34F681D5-939C-4BF3-CC58-1DB1217786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523" y="409701"/>
            <a:ext cx="9540764" cy="440574"/>
          </a:xfrm>
        </p:spPr>
        <p:txBody>
          <a:bodyPr/>
          <a:lstStyle/>
          <a:p>
            <a:r>
              <a:rPr lang="en-GB" dirty="0"/>
              <a:t>Leadership with a long-term view is essential for driving a sustainable future </a:t>
            </a:r>
            <a:endParaRPr lang="en-KE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18B2926-985B-EDD6-72DB-E99D032B869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C8F0D457-B8FC-413C-9D30-97ED72E92701}" type="slidenum">
              <a:rPr lang="en-ZA" smtClean="0"/>
              <a:pPr/>
              <a:t>8</a:t>
            </a:fld>
            <a:endParaRPr lang="en-ZA"/>
          </a:p>
        </p:txBody>
      </p:sp>
      <p:pic>
        <p:nvPicPr>
          <p:cNvPr id="8" name="Picture 2" descr="African Insurance Organisation - Five-year strategic plan ...">
            <a:extLst>
              <a:ext uri="{FF2B5EF4-FFF2-40B4-BE49-F238E27FC236}">
                <a16:creationId xmlns:a16="http://schemas.microsoft.com/office/drawing/2014/main" id="{0D618557-3102-B1BA-F7BB-E7B086FA69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95" t="28182" r="12011" b="29848"/>
          <a:stretch/>
        </p:blipFill>
        <p:spPr bwMode="auto">
          <a:xfrm>
            <a:off x="10459858" y="6244559"/>
            <a:ext cx="1427344" cy="541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610981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object 3">
            <a:extLst>
              <a:ext uri="{FF2B5EF4-FFF2-40B4-BE49-F238E27FC236}">
                <a16:creationId xmlns:a16="http://schemas.microsoft.com/office/drawing/2014/main" id="{D454B5DE-F0A6-50F7-5EDA-DCBD2C1148B8}"/>
              </a:ext>
            </a:extLst>
          </p:cNvPr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556387" y="865209"/>
            <a:ext cx="11353800" cy="552578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111D642-F9C8-199B-29A7-28F7929004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56387" y="387997"/>
            <a:ext cx="6574663" cy="483719"/>
          </a:xfrm>
        </p:spPr>
        <p:txBody>
          <a:bodyPr/>
          <a:lstStyle/>
          <a:p>
            <a:r>
              <a:rPr lang="en-GB" dirty="0"/>
              <a:t>Why is Leadership Important?</a:t>
            </a:r>
            <a:endParaRPr lang="en-KE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F01161-6DA9-4C74-CDC8-E05CC19CB8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FSD Afric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FC9E46-EB0D-9456-39A6-36B1AF7717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EAD0B6-45E5-3A43-8421-56464370CF0C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9D52AF65-D49B-3C39-E920-5BFA93F79C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1454114"/>
              </p:ext>
            </p:extLst>
          </p:nvPr>
        </p:nvGraphicFramePr>
        <p:xfrm>
          <a:off x="633634" y="911388"/>
          <a:ext cx="9892093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2475549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Right"/>
</p:tagLst>
</file>

<file path=ppt/theme/theme1.xml><?xml version="1.0" encoding="utf-8"?>
<a:theme xmlns:a="http://schemas.openxmlformats.org/drawingml/2006/main" name="Titles, images and diagrams - 6 column">
  <a:themeElements>
    <a:clrScheme name="FSD 1">
      <a:dk1>
        <a:srgbClr val="282C28"/>
      </a:dk1>
      <a:lt1>
        <a:srgbClr val="FEFFFF"/>
      </a:lt1>
      <a:dk2>
        <a:srgbClr val="387167"/>
      </a:dk2>
      <a:lt2>
        <a:srgbClr val="98C11F"/>
      </a:lt2>
      <a:accent1>
        <a:srgbClr val="282C28"/>
      </a:accent1>
      <a:accent2>
        <a:srgbClr val="98C11F"/>
      </a:accent2>
      <a:accent3>
        <a:srgbClr val="C8DB86"/>
      </a:accent3>
      <a:accent4>
        <a:srgbClr val="F0F4F0"/>
      </a:accent4>
      <a:accent5>
        <a:srgbClr val="25A6EC"/>
      </a:accent5>
      <a:accent6>
        <a:srgbClr val="1D82B9"/>
      </a:accent6>
      <a:hlink>
        <a:srgbClr val="25A6EC"/>
      </a:hlink>
      <a:folHlink>
        <a:srgbClr val="FEFFFF"/>
      </a:folHlink>
    </a:clrScheme>
    <a:fontScheme name="FSD-2">
      <a:majorFont>
        <a:latin typeface="MuseoSans-300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MuseoSans-300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xt - 5 columns">
  <a:themeElements>
    <a:clrScheme name="FSD 1">
      <a:dk1>
        <a:srgbClr val="282C28"/>
      </a:dk1>
      <a:lt1>
        <a:srgbClr val="FEFFFF"/>
      </a:lt1>
      <a:dk2>
        <a:srgbClr val="387167"/>
      </a:dk2>
      <a:lt2>
        <a:srgbClr val="98C11F"/>
      </a:lt2>
      <a:accent1>
        <a:srgbClr val="282C28"/>
      </a:accent1>
      <a:accent2>
        <a:srgbClr val="98C11F"/>
      </a:accent2>
      <a:accent3>
        <a:srgbClr val="C8DB86"/>
      </a:accent3>
      <a:accent4>
        <a:srgbClr val="F0F4F0"/>
      </a:accent4>
      <a:accent5>
        <a:srgbClr val="25A6EC"/>
      </a:accent5>
      <a:accent6>
        <a:srgbClr val="1D82B9"/>
      </a:accent6>
      <a:hlink>
        <a:srgbClr val="25A6EC"/>
      </a:hlink>
      <a:folHlink>
        <a:srgbClr val="FEFFFF"/>
      </a:folHlink>
    </a:clrScheme>
    <a:fontScheme name="FSD-2">
      <a:majorFont>
        <a:latin typeface="MuseoSans-300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MuseoSans-300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Boxes – 4 column">
  <a:themeElements>
    <a:clrScheme name="FSD 1">
      <a:dk1>
        <a:srgbClr val="282C28"/>
      </a:dk1>
      <a:lt1>
        <a:srgbClr val="FEFFFF"/>
      </a:lt1>
      <a:dk2>
        <a:srgbClr val="387167"/>
      </a:dk2>
      <a:lt2>
        <a:srgbClr val="98C11F"/>
      </a:lt2>
      <a:accent1>
        <a:srgbClr val="282C28"/>
      </a:accent1>
      <a:accent2>
        <a:srgbClr val="98C11F"/>
      </a:accent2>
      <a:accent3>
        <a:srgbClr val="C8DB86"/>
      </a:accent3>
      <a:accent4>
        <a:srgbClr val="F0F4F0"/>
      </a:accent4>
      <a:accent5>
        <a:srgbClr val="25A6EC"/>
      </a:accent5>
      <a:accent6>
        <a:srgbClr val="1D82B9"/>
      </a:accent6>
      <a:hlink>
        <a:srgbClr val="25A6EC"/>
      </a:hlink>
      <a:folHlink>
        <a:srgbClr val="FEFFFF"/>
      </a:folHlink>
    </a:clrScheme>
    <a:fontScheme name="FSD-2">
      <a:majorFont>
        <a:latin typeface="MuseoSans-300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MuseoSans-300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919</TotalTime>
  <Words>1103</Words>
  <Application>Microsoft Office PowerPoint</Application>
  <PresentationFormat>Widescreen</PresentationFormat>
  <Paragraphs>148</Paragraphs>
  <Slides>1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2" baseType="lpstr">
      <vt:lpstr>Arial</vt:lpstr>
      <vt:lpstr>Calibri</vt:lpstr>
      <vt:lpstr>Calibri </vt:lpstr>
      <vt:lpstr>Calibri Light</vt:lpstr>
      <vt:lpstr>Century Gothic</vt:lpstr>
      <vt:lpstr>Century Gothic </vt:lpstr>
      <vt:lpstr>Century Gothic BOLD</vt:lpstr>
      <vt:lpstr>Museo Sans 100</vt:lpstr>
      <vt:lpstr>Museo Sans 300</vt:lpstr>
      <vt:lpstr>Museo Sans 500</vt:lpstr>
      <vt:lpstr>Museo Sans 700</vt:lpstr>
      <vt:lpstr>MuseoSans-300</vt:lpstr>
      <vt:lpstr>System Font Regular</vt:lpstr>
      <vt:lpstr>Trebuchet MS</vt:lpstr>
      <vt:lpstr>Titles, images and diagrams - 6 column</vt:lpstr>
      <vt:lpstr>Text - 5 columns</vt:lpstr>
      <vt:lpstr>Boxes – 4 column</vt:lpstr>
      <vt:lpstr>Office Theme</vt:lpstr>
      <vt:lpstr>think-cell Slide</vt:lpstr>
      <vt:lpstr>Leadership with a long-term view The role of the insurance industry in driving a sustainable future</vt:lpstr>
      <vt:lpstr>PowerPoint Presentation</vt:lpstr>
      <vt:lpstr>The role of business has evolved</vt:lpstr>
      <vt:lpstr>Climate and nature-related risks dominate the global risk register</vt:lpstr>
      <vt:lpstr>Africa is in a perilous climate position  </vt:lpstr>
      <vt:lpstr>PowerPoint Presentation</vt:lpstr>
      <vt:lpstr>How climate change threatens the financial sector </vt:lpstr>
      <vt:lpstr>Leadership with a long-term view is essential for driving a sustainable future </vt:lpstr>
      <vt:lpstr>Why is Leadership Important?</vt:lpstr>
      <vt:lpstr>PowerPoint Presentation</vt:lpstr>
      <vt:lpstr>PowerPoint Presentation</vt:lpstr>
      <vt:lpstr>The Future is Sustainable Insurance</vt:lpstr>
      <vt:lpstr>Thanks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rosoft Office User</dc:creator>
  <cp:lastModifiedBy>Elias Omondi</cp:lastModifiedBy>
  <cp:revision>447</cp:revision>
  <dcterms:created xsi:type="dcterms:W3CDTF">2019-06-08T20:04:49Z</dcterms:created>
  <dcterms:modified xsi:type="dcterms:W3CDTF">2023-05-28T22:34:44Z</dcterms:modified>
</cp:coreProperties>
</file>